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  <p:sldMasterId id="2147483779" r:id="rId2"/>
  </p:sldMasterIdLst>
  <p:notesMasterIdLst>
    <p:notesMasterId r:id="rId12"/>
  </p:notesMasterIdLst>
  <p:sldIdLst>
    <p:sldId id="299" r:id="rId3"/>
    <p:sldId id="298" r:id="rId4"/>
    <p:sldId id="365" r:id="rId5"/>
    <p:sldId id="366" r:id="rId6"/>
    <p:sldId id="367" r:id="rId7"/>
    <p:sldId id="368" r:id="rId8"/>
    <p:sldId id="369" r:id="rId9"/>
    <p:sldId id="370" r:id="rId10"/>
    <p:sldId id="313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die L Floyd" initials="JLF" lastIdx="8" clrIdx="0">
    <p:extLst>
      <p:ext uri="{19B8F6BF-5375-455C-9EA6-DF929625EA0E}">
        <p15:presenceInfo xmlns:p15="http://schemas.microsoft.com/office/powerpoint/2012/main" userId="Jodie L Floyd" providerId="None"/>
      </p:ext>
    </p:extLst>
  </p:cmAuthor>
  <p:cmAuthor id="2" name="Amy Jay" initials="AJ" lastIdx="9" clrIdx="1">
    <p:extLst>
      <p:ext uri="{19B8F6BF-5375-455C-9EA6-DF929625EA0E}">
        <p15:presenceInfo xmlns:p15="http://schemas.microsoft.com/office/powerpoint/2012/main" userId="S-1-5-21-2077763542-2135228977-565468543-700963" providerId="AD"/>
      </p:ext>
    </p:extLst>
  </p:cmAuthor>
  <p:cmAuthor id="3" name="William F. Riesner" initials="WFR" lastIdx="13" clrIdx="2">
    <p:extLst>
      <p:ext uri="{19B8F6BF-5375-455C-9EA6-DF929625EA0E}">
        <p15:presenceInfo xmlns:p15="http://schemas.microsoft.com/office/powerpoint/2012/main" userId="S-1-5-21-2077763542-2135228977-565468543-221904" providerId="AD"/>
      </p:ext>
    </p:extLst>
  </p:cmAuthor>
  <p:cmAuthor id="4" name="Selvakumar Samraj, Pristley Sathyaraj (Cognizant)" initials="SSPS(" lastIdx="8" clrIdx="3">
    <p:extLst>
      <p:ext uri="{19B8F6BF-5375-455C-9EA6-DF929625EA0E}">
        <p15:presenceInfo xmlns:p15="http://schemas.microsoft.com/office/powerpoint/2012/main" userId="S-1-5-21-1178368992-402679808-390482200-168029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62" autoAdjust="0"/>
    <p:restoredTop sz="88710" autoAdjust="0"/>
  </p:normalViewPr>
  <p:slideViewPr>
    <p:cSldViewPr snapToGrid="0">
      <p:cViewPr varScale="1">
        <p:scale>
          <a:sx n="66" d="100"/>
          <a:sy n="66" d="100"/>
        </p:scale>
        <p:origin x="7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18-07-30T10:40:03.491" idx="1">
    <p:pos x="7484" y="1898"/>
    <p:text>Does GD is nessesary</p:text>
    <p:extLst>
      <p:ext uri="{C676402C-5697-4E1C-873F-D02D1690AC5C}">
        <p15:threadingInfo xmlns:p15="http://schemas.microsoft.com/office/powerpoint/2012/main" timeZoneBias="-330"/>
      </p:ext>
    </p:extLst>
  </p:cm>
  <p:cm authorId="4" dt="2018-07-30T10:40:18.445" idx="2">
    <p:pos x="6795" y="1902"/>
    <p:text>Apart from Office 365 What are the services useed in EA stack ?</p:text>
    <p:extLst>
      <p:ext uri="{C676402C-5697-4E1C-873F-D02D1690AC5C}">
        <p15:threadingInfo xmlns:p15="http://schemas.microsoft.com/office/powerpoint/2012/main" timeZoneBias="-330"/>
      </p:ext>
    </p:extLst>
  </p:cm>
  <p:cm authorId="4" dt="2018-07-30T10:41:31.389" idx="3">
    <p:pos x="5824" y="1710"/>
    <p:text>What apps / svcs used in curret state  ?</p:text>
    <p:extLst>
      <p:ext uri="{C676402C-5697-4E1C-873F-D02D1690AC5C}">
        <p15:threadingInfo xmlns:p15="http://schemas.microsoft.com/office/powerpoint/2012/main" timeZoneBias="-330"/>
      </p:ext>
    </p:extLst>
  </p:cm>
  <p:cm authorId="4" dt="2018-07-30T10:42:13.669" idx="4">
    <p:pos x="3099" y="1298"/>
    <p:text>What kind of data is/ will be streamed ?</p:text>
    <p:extLst>
      <p:ext uri="{C676402C-5697-4E1C-873F-D02D1690AC5C}">
        <p15:threadingInfo xmlns:p15="http://schemas.microsoft.com/office/powerpoint/2012/main" timeZoneBias="-330"/>
      </p:ext>
    </p:extLst>
  </p:cm>
  <p:cm authorId="4" dt="2018-07-30T10:42:47.992" idx="5">
    <p:pos x="1783" y="1993"/>
    <p:text>What are the standars OS used in Eli Lilly's ops model ?</p:text>
    <p:extLst>
      <p:ext uri="{C676402C-5697-4E1C-873F-D02D1690AC5C}">
        <p15:threadingInfo xmlns:p15="http://schemas.microsoft.com/office/powerpoint/2012/main" timeZoneBias="-330"/>
      </p:ext>
    </p:extLst>
  </p:cm>
  <p:cm authorId="4" dt="2018-07-30T10:43:12.900" idx="6">
    <p:pos x="2368" y="1938"/>
    <p:text>Need the list of ervices automation which are currently in place?</p:text>
    <p:extLst>
      <p:ext uri="{C676402C-5697-4E1C-873F-D02D1690AC5C}">
        <p15:threadingInfo xmlns:p15="http://schemas.microsoft.com/office/powerpoint/2012/main" timeZoneBias="-330"/>
      </p:ext>
    </p:extLst>
  </p:cm>
  <p:cm authorId="4" dt="2018-07-30T10:44:16.689" idx="7">
    <p:pos x="2341" y="4105"/>
    <p:text>Where the AWS will be hosted</p:text>
    <p:extLst>
      <p:ext uri="{C676402C-5697-4E1C-873F-D02D1690AC5C}">
        <p15:threadingInfo xmlns:p15="http://schemas.microsoft.com/office/powerpoint/2012/main" timeZoneBias="-330"/>
      </p:ext>
    </p:extLst>
  </p:cm>
  <p:cm authorId="4" dt="2018-07-30T10:44:31.064" idx="8">
    <p:pos x="3739" y="4059"/>
    <p:text>Is DC- DR model is nessesary for  inhouse apps ?</p:text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2D7B0-AB41-4FE0-8AF4-A7362762E71A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242C6A-E674-44D0-BB3B-53FA5105E0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4703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53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1CF211-82B1-4413-A1DB-587EE1F15A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53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1560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53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1CF211-82B1-4413-A1DB-587EE1F15A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53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635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97504" y="2628362"/>
            <a:ext cx="4396266" cy="929306"/>
          </a:xfrm>
        </p:spPr>
        <p:txBody>
          <a:bodyPr/>
          <a:lstStyle>
            <a:lvl1pPr algn="l">
              <a:defRPr sz="4000" b="0" i="0" baseline="0">
                <a:solidFill>
                  <a:schemeClr val="tx1"/>
                </a:solidFill>
                <a:latin typeface="DIN-Regular" charset="0"/>
                <a:ea typeface="DIN-Regular" charset="0"/>
                <a:cs typeface="DIN-Regular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DECK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97503" y="3813107"/>
            <a:ext cx="4073882" cy="631233"/>
          </a:xfrm>
        </p:spPr>
        <p:txBody>
          <a:bodyPr/>
          <a:lstStyle>
            <a:lvl1pPr marL="0" indent="0" algn="l">
              <a:buNone/>
              <a:defRPr sz="2667" b="0" i="0">
                <a:solidFill>
                  <a:schemeClr val="tx1"/>
                </a:solidFill>
                <a:latin typeface="DIN-Regular" charset="0"/>
                <a:ea typeface="DIN-Regular" charset="0"/>
                <a:cs typeface="DIN-Regular" charset="0"/>
              </a:defRPr>
            </a:lvl1pPr>
            <a:lvl2pPr marL="544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7636" y="5669201"/>
            <a:ext cx="1436133" cy="78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9308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41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0"/>
            <a:ext cx="6815667" cy="5853113"/>
          </a:xfrm>
        </p:spPr>
        <p:txBody>
          <a:bodyPr/>
          <a:lstStyle>
            <a:lvl1pPr>
              <a:defRPr sz="3833"/>
            </a:lvl1pPr>
            <a:lvl2pPr>
              <a:defRPr sz="3333"/>
            </a:lvl2pPr>
            <a:lvl3pPr>
              <a:defRPr sz="2833"/>
            </a:lvl3pPr>
            <a:lvl4pPr>
              <a:defRPr sz="2417"/>
            </a:lvl4pPr>
            <a:lvl5pPr>
              <a:defRPr sz="2417"/>
            </a:lvl5pPr>
            <a:lvl6pPr>
              <a:defRPr sz="2417"/>
            </a:lvl6pPr>
            <a:lvl7pPr>
              <a:defRPr sz="2417"/>
            </a:lvl7pPr>
            <a:lvl8pPr>
              <a:defRPr sz="2417"/>
            </a:lvl8pPr>
            <a:lvl9pPr>
              <a:defRPr sz="241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1063"/>
          </a:xfrm>
        </p:spPr>
        <p:txBody>
          <a:bodyPr/>
          <a:lstStyle>
            <a:lvl1pPr marL="0" indent="0">
              <a:buNone/>
              <a:defRPr sz="1667"/>
            </a:lvl1pPr>
            <a:lvl2pPr marL="544237" indent="0">
              <a:buNone/>
              <a:defRPr sz="1417"/>
            </a:lvl2pPr>
            <a:lvl3pPr marL="1088473" indent="0">
              <a:buNone/>
              <a:defRPr sz="1167"/>
            </a:lvl3pPr>
            <a:lvl4pPr marL="1632711" indent="0">
              <a:buNone/>
              <a:defRPr sz="1083"/>
            </a:lvl4pPr>
            <a:lvl5pPr marL="2176947" indent="0">
              <a:buNone/>
              <a:defRPr sz="1083"/>
            </a:lvl5pPr>
            <a:lvl6pPr marL="2721184" indent="0">
              <a:buNone/>
              <a:defRPr sz="1083"/>
            </a:lvl6pPr>
            <a:lvl7pPr marL="3265420" indent="0">
              <a:buNone/>
              <a:defRPr sz="1083"/>
            </a:lvl7pPr>
            <a:lvl8pPr marL="3809657" indent="0">
              <a:buNone/>
              <a:defRPr sz="1083"/>
            </a:lvl8pPr>
            <a:lvl9pPr marL="4353894" indent="0">
              <a:buNone/>
              <a:defRPr sz="108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374254-0CED-874B-8A90-5D858C792B29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111104-5DF5-5E4A-BF1A-3C62FCFA109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163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41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833"/>
            </a:lvl1pPr>
            <a:lvl2pPr marL="544237" indent="0">
              <a:buNone/>
              <a:defRPr sz="3333"/>
            </a:lvl2pPr>
            <a:lvl3pPr marL="1088473" indent="0">
              <a:buNone/>
              <a:defRPr sz="2833"/>
            </a:lvl3pPr>
            <a:lvl4pPr marL="1632711" indent="0">
              <a:buNone/>
              <a:defRPr sz="2417"/>
            </a:lvl4pPr>
            <a:lvl5pPr marL="2176947" indent="0">
              <a:buNone/>
              <a:defRPr sz="2417"/>
            </a:lvl5pPr>
            <a:lvl6pPr marL="2721184" indent="0">
              <a:buNone/>
              <a:defRPr sz="2417"/>
            </a:lvl6pPr>
            <a:lvl7pPr marL="3265420" indent="0">
              <a:buNone/>
              <a:defRPr sz="2417"/>
            </a:lvl7pPr>
            <a:lvl8pPr marL="3809657" indent="0">
              <a:buNone/>
              <a:defRPr sz="2417"/>
            </a:lvl8pPr>
            <a:lvl9pPr marL="4353894" indent="0">
              <a:buNone/>
              <a:defRPr sz="2417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667"/>
            </a:lvl1pPr>
            <a:lvl2pPr marL="544237" indent="0">
              <a:buNone/>
              <a:defRPr sz="1417"/>
            </a:lvl2pPr>
            <a:lvl3pPr marL="1088473" indent="0">
              <a:buNone/>
              <a:defRPr sz="1167"/>
            </a:lvl3pPr>
            <a:lvl4pPr marL="1632711" indent="0">
              <a:buNone/>
              <a:defRPr sz="1083"/>
            </a:lvl4pPr>
            <a:lvl5pPr marL="2176947" indent="0">
              <a:buNone/>
              <a:defRPr sz="1083"/>
            </a:lvl5pPr>
            <a:lvl6pPr marL="2721184" indent="0">
              <a:buNone/>
              <a:defRPr sz="1083"/>
            </a:lvl6pPr>
            <a:lvl7pPr marL="3265420" indent="0">
              <a:buNone/>
              <a:defRPr sz="1083"/>
            </a:lvl7pPr>
            <a:lvl8pPr marL="3809657" indent="0">
              <a:buNone/>
              <a:defRPr sz="1083"/>
            </a:lvl8pPr>
            <a:lvl9pPr marL="4353894" indent="0">
              <a:buNone/>
              <a:defRPr sz="108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B42B60-F775-2640-9745-751F490B6292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B9EF4F-DBF0-224B-B15F-8C5B2C581F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7103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FCB782-6511-884A-AB9E-820237990E9C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A3C817-4775-8E43-827A-9B6300E73C0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866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D93A39-762E-4245-AD74-71E0617585FA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E6D066-61F3-914D-B5DE-FBF01628CE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7255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25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5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2252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97504" y="2628362"/>
            <a:ext cx="4396266" cy="929306"/>
          </a:xfrm>
        </p:spPr>
        <p:txBody>
          <a:bodyPr/>
          <a:lstStyle>
            <a:lvl1pPr algn="l">
              <a:defRPr sz="4000" b="0" i="0" baseline="0">
                <a:solidFill>
                  <a:schemeClr val="tx1"/>
                </a:solidFill>
                <a:latin typeface="+mj-lt"/>
                <a:ea typeface="DIN-Regular" charset="0"/>
                <a:cs typeface="DIN-Regular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DECK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97503" y="3813107"/>
            <a:ext cx="4073882" cy="631233"/>
          </a:xfrm>
        </p:spPr>
        <p:txBody>
          <a:bodyPr/>
          <a:lstStyle>
            <a:lvl1pPr marL="0" indent="0" algn="l">
              <a:buNone/>
              <a:defRPr sz="2667" b="0" i="0">
                <a:solidFill>
                  <a:schemeClr val="tx1"/>
                </a:solidFill>
                <a:latin typeface="+mj-lt"/>
                <a:ea typeface="DIN-Regular" charset="0"/>
                <a:cs typeface="DIN-Regular" charset="0"/>
              </a:defRPr>
            </a:lvl1pPr>
            <a:lvl2pPr marL="544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7636" y="5669201"/>
            <a:ext cx="1436133" cy="78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2585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910C0-F0E4-3B4A-8D46-358441509B60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E4A9EC-2F93-AA4A-8BF5-70DF042828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07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E342A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65600" y="3016207"/>
            <a:ext cx="6894654" cy="1362075"/>
          </a:xfrm>
        </p:spPr>
        <p:txBody>
          <a:bodyPr anchor="t"/>
          <a:lstStyle>
            <a:lvl1pPr algn="l">
              <a:defRPr sz="475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5601" y="4435885"/>
            <a:ext cx="4791919" cy="632085"/>
          </a:xfrm>
        </p:spPr>
        <p:txBody>
          <a:bodyPr anchor="b"/>
          <a:lstStyle>
            <a:lvl1pPr marL="0" indent="0">
              <a:buNone/>
              <a:defRPr sz="2417">
                <a:solidFill>
                  <a:schemeClr val="bg1"/>
                </a:solidFill>
              </a:defRPr>
            </a:lvl1pPr>
            <a:lvl2pPr marL="544237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473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71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94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118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42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65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89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E6F3ED2-6F8D-7D45-AF10-D2D3556D9BFD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7AF3C62-1A59-4F44-B82E-3DE82A2B46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44900" y="0"/>
            <a:ext cx="0" cy="6858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00" y="2063985"/>
            <a:ext cx="1450731" cy="791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0918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A9E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165600" y="3016207"/>
            <a:ext cx="6894654" cy="1362075"/>
          </a:xfrm>
        </p:spPr>
        <p:txBody>
          <a:bodyPr anchor="t"/>
          <a:lstStyle>
            <a:lvl1pPr algn="l">
              <a:defRPr sz="475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165601" y="4435885"/>
            <a:ext cx="4791919" cy="632085"/>
          </a:xfrm>
        </p:spPr>
        <p:txBody>
          <a:bodyPr anchor="b"/>
          <a:lstStyle>
            <a:lvl1pPr marL="0" indent="0">
              <a:buNone/>
              <a:defRPr sz="2417">
                <a:solidFill>
                  <a:schemeClr val="bg1"/>
                </a:solidFill>
              </a:defRPr>
            </a:lvl1pPr>
            <a:lvl2pPr marL="544237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473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71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94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118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42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65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89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E6F3ED2-6F8D-7D45-AF10-D2D3556D9BFD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>
            <a:lvl1pPr>
              <a:defRPr dirty="0"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7AF3C62-1A59-4F44-B82E-3DE82A2B46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644900" y="0"/>
            <a:ext cx="0" cy="6858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00" y="2063985"/>
            <a:ext cx="1450731" cy="791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4129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6786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165600" y="3016207"/>
            <a:ext cx="6894654" cy="1362075"/>
          </a:xfrm>
        </p:spPr>
        <p:txBody>
          <a:bodyPr anchor="t"/>
          <a:lstStyle>
            <a:lvl1pPr algn="l">
              <a:defRPr sz="475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165601" y="4435885"/>
            <a:ext cx="4791919" cy="632085"/>
          </a:xfrm>
        </p:spPr>
        <p:txBody>
          <a:bodyPr anchor="b"/>
          <a:lstStyle>
            <a:lvl1pPr marL="0" indent="0">
              <a:buNone/>
              <a:defRPr sz="2417">
                <a:solidFill>
                  <a:schemeClr val="bg1"/>
                </a:solidFill>
              </a:defRPr>
            </a:lvl1pPr>
            <a:lvl2pPr marL="544237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473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71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94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118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42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65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89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E6F3ED2-6F8D-7D45-AF10-D2D3556D9BFD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>
            <a:lvl1pPr>
              <a:defRPr dirty="0"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7AF3C62-1A59-4F44-B82E-3DE82A2B46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644900" y="0"/>
            <a:ext cx="0" cy="6858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00" y="2063985"/>
            <a:ext cx="1450731" cy="791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8421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910C0-F0E4-3B4A-8D46-358441509B60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E4A9EC-2F93-AA4A-8BF5-70DF042828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2074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84800" cy="4525963"/>
          </a:xfrm>
        </p:spPr>
        <p:txBody>
          <a:bodyPr/>
          <a:lstStyle>
            <a:lvl1pPr>
              <a:defRPr sz="3333"/>
            </a:lvl1pPr>
            <a:lvl2pPr>
              <a:defRPr sz="2833"/>
            </a:lvl2pPr>
            <a:lvl3pPr>
              <a:defRPr sz="2417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384800" cy="4525963"/>
          </a:xfrm>
        </p:spPr>
        <p:txBody>
          <a:bodyPr/>
          <a:lstStyle>
            <a:lvl1pPr>
              <a:defRPr sz="3333"/>
            </a:lvl1pPr>
            <a:lvl2pPr>
              <a:defRPr sz="2833"/>
            </a:lvl2pPr>
            <a:lvl3pPr>
              <a:defRPr sz="2417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31BE2A-2252-9444-B2E3-2D8A10A02AC2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7A8D63-065C-4A40-9406-8D88263CDD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0725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8" cy="639762"/>
          </a:xfrm>
        </p:spPr>
        <p:txBody>
          <a:bodyPr anchor="b"/>
          <a:lstStyle>
            <a:lvl1pPr marL="0" indent="0">
              <a:buNone/>
              <a:defRPr sz="2833" b="1"/>
            </a:lvl1pPr>
            <a:lvl2pPr marL="544237" indent="0">
              <a:buNone/>
              <a:defRPr sz="2417" b="1"/>
            </a:lvl2pPr>
            <a:lvl3pPr marL="1088473" indent="0">
              <a:buNone/>
              <a:defRPr sz="2167" b="1"/>
            </a:lvl3pPr>
            <a:lvl4pPr marL="1632711" indent="0">
              <a:buNone/>
              <a:defRPr sz="1917" b="1"/>
            </a:lvl4pPr>
            <a:lvl5pPr marL="2176947" indent="0">
              <a:buNone/>
              <a:defRPr sz="1917" b="1"/>
            </a:lvl5pPr>
            <a:lvl6pPr marL="2721184" indent="0">
              <a:buNone/>
              <a:defRPr sz="1917" b="1"/>
            </a:lvl6pPr>
            <a:lvl7pPr marL="3265420" indent="0">
              <a:buNone/>
              <a:defRPr sz="1917" b="1"/>
            </a:lvl7pPr>
            <a:lvl8pPr marL="3809657" indent="0">
              <a:buNone/>
              <a:defRPr sz="1917" b="1"/>
            </a:lvl8pPr>
            <a:lvl9pPr marL="4353894" indent="0">
              <a:buNone/>
              <a:defRPr sz="191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8" cy="3951288"/>
          </a:xfrm>
        </p:spPr>
        <p:txBody>
          <a:bodyPr/>
          <a:lstStyle>
            <a:lvl1pPr>
              <a:defRPr sz="2833"/>
            </a:lvl1pPr>
            <a:lvl2pPr>
              <a:defRPr sz="2417"/>
            </a:lvl2pPr>
            <a:lvl3pPr>
              <a:defRPr sz="2167"/>
            </a:lvl3pPr>
            <a:lvl4pPr>
              <a:defRPr sz="1917"/>
            </a:lvl4pPr>
            <a:lvl5pPr>
              <a:defRPr sz="1917"/>
            </a:lvl5pPr>
            <a:lvl6pPr>
              <a:defRPr sz="1917"/>
            </a:lvl6pPr>
            <a:lvl7pPr>
              <a:defRPr sz="1917"/>
            </a:lvl7pPr>
            <a:lvl8pPr>
              <a:defRPr sz="1917"/>
            </a:lvl8pPr>
            <a:lvl9pPr>
              <a:defRPr sz="191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833" b="1"/>
            </a:lvl1pPr>
            <a:lvl2pPr marL="544237" indent="0">
              <a:buNone/>
              <a:defRPr sz="2417" b="1"/>
            </a:lvl2pPr>
            <a:lvl3pPr marL="1088473" indent="0">
              <a:buNone/>
              <a:defRPr sz="2167" b="1"/>
            </a:lvl3pPr>
            <a:lvl4pPr marL="1632711" indent="0">
              <a:buNone/>
              <a:defRPr sz="1917" b="1"/>
            </a:lvl4pPr>
            <a:lvl5pPr marL="2176947" indent="0">
              <a:buNone/>
              <a:defRPr sz="1917" b="1"/>
            </a:lvl5pPr>
            <a:lvl6pPr marL="2721184" indent="0">
              <a:buNone/>
              <a:defRPr sz="1917" b="1"/>
            </a:lvl6pPr>
            <a:lvl7pPr marL="3265420" indent="0">
              <a:buNone/>
              <a:defRPr sz="1917" b="1"/>
            </a:lvl7pPr>
            <a:lvl8pPr marL="3809657" indent="0">
              <a:buNone/>
              <a:defRPr sz="1917" b="1"/>
            </a:lvl8pPr>
            <a:lvl9pPr marL="4353894" indent="0">
              <a:buNone/>
              <a:defRPr sz="191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833"/>
            </a:lvl1pPr>
            <a:lvl2pPr>
              <a:defRPr sz="2417"/>
            </a:lvl2pPr>
            <a:lvl3pPr>
              <a:defRPr sz="2167"/>
            </a:lvl3pPr>
            <a:lvl4pPr>
              <a:defRPr sz="1917"/>
            </a:lvl4pPr>
            <a:lvl5pPr>
              <a:defRPr sz="1917"/>
            </a:lvl5pPr>
            <a:lvl6pPr>
              <a:defRPr sz="1917"/>
            </a:lvl6pPr>
            <a:lvl7pPr>
              <a:defRPr sz="1917"/>
            </a:lvl7pPr>
            <a:lvl8pPr>
              <a:defRPr sz="1917"/>
            </a:lvl8pPr>
            <a:lvl9pPr>
              <a:defRPr sz="191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0E48B2-B8F3-2E45-81FA-5DB8CEAC2FA2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CBA610-1FD4-6D4F-A58A-4231F7E62D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1840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44B979-1B0D-3F40-B898-617F6316D246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26091A-6171-8549-AB50-E9BC0BD2A9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6676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FC46B0-1CE3-E543-A2FD-586639F99AB1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6817D4-C237-9C48-B055-D56E04DD88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364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41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0"/>
            <a:ext cx="6815667" cy="5853113"/>
          </a:xfrm>
        </p:spPr>
        <p:txBody>
          <a:bodyPr/>
          <a:lstStyle>
            <a:lvl1pPr>
              <a:defRPr sz="3833"/>
            </a:lvl1pPr>
            <a:lvl2pPr>
              <a:defRPr sz="3333"/>
            </a:lvl2pPr>
            <a:lvl3pPr>
              <a:defRPr sz="2833"/>
            </a:lvl3pPr>
            <a:lvl4pPr>
              <a:defRPr sz="2417"/>
            </a:lvl4pPr>
            <a:lvl5pPr>
              <a:defRPr sz="2417"/>
            </a:lvl5pPr>
            <a:lvl6pPr>
              <a:defRPr sz="2417"/>
            </a:lvl6pPr>
            <a:lvl7pPr>
              <a:defRPr sz="2417"/>
            </a:lvl7pPr>
            <a:lvl8pPr>
              <a:defRPr sz="2417"/>
            </a:lvl8pPr>
            <a:lvl9pPr>
              <a:defRPr sz="241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1063"/>
          </a:xfrm>
        </p:spPr>
        <p:txBody>
          <a:bodyPr/>
          <a:lstStyle>
            <a:lvl1pPr marL="0" indent="0">
              <a:buNone/>
              <a:defRPr sz="1667"/>
            </a:lvl1pPr>
            <a:lvl2pPr marL="544237" indent="0">
              <a:buNone/>
              <a:defRPr sz="1417"/>
            </a:lvl2pPr>
            <a:lvl3pPr marL="1088473" indent="0">
              <a:buNone/>
              <a:defRPr sz="1167"/>
            </a:lvl3pPr>
            <a:lvl4pPr marL="1632711" indent="0">
              <a:buNone/>
              <a:defRPr sz="1083"/>
            </a:lvl4pPr>
            <a:lvl5pPr marL="2176947" indent="0">
              <a:buNone/>
              <a:defRPr sz="1083"/>
            </a:lvl5pPr>
            <a:lvl6pPr marL="2721184" indent="0">
              <a:buNone/>
              <a:defRPr sz="1083"/>
            </a:lvl6pPr>
            <a:lvl7pPr marL="3265420" indent="0">
              <a:buNone/>
              <a:defRPr sz="1083"/>
            </a:lvl7pPr>
            <a:lvl8pPr marL="3809657" indent="0">
              <a:buNone/>
              <a:defRPr sz="1083"/>
            </a:lvl8pPr>
            <a:lvl9pPr marL="4353894" indent="0">
              <a:buNone/>
              <a:defRPr sz="108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374254-0CED-874B-8A90-5D858C792B29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111104-5DF5-5E4A-BF1A-3C62FCFA10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5975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41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833"/>
            </a:lvl1pPr>
            <a:lvl2pPr marL="544237" indent="0">
              <a:buNone/>
              <a:defRPr sz="3333"/>
            </a:lvl2pPr>
            <a:lvl3pPr marL="1088473" indent="0">
              <a:buNone/>
              <a:defRPr sz="2833"/>
            </a:lvl3pPr>
            <a:lvl4pPr marL="1632711" indent="0">
              <a:buNone/>
              <a:defRPr sz="2417"/>
            </a:lvl4pPr>
            <a:lvl5pPr marL="2176947" indent="0">
              <a:buNone/>
              <a:defRPr sz="2417"/>
            </a:lvl5pPr>
            <a:lvl6pPr marL="2721184" indent="0">
              <a:buNone/>
              <a:defRPr sz="2417"/>
            </a:lvl6pPr>
            <a:lvl7pPr marL="3265420" indent="0">
              <a:buNone/>
              <a:defRPr sz="2417"/>
            </a:lvl7pPr>
            <a:lvl8pPr marL="3809657" indent="0">
              <a:buNone/>
              <a:defRPr sz="2417"/>
            </a:lvl8pPr>
            <a:lvl9pPr marL="4353894" indent="0">
              <a:buNone/>
              <a:defRPr sz="2417"/>
            </a:lvl9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667"/>
            </a:lvl1pPr>
            <a:lvl2pPr marL="544237" indent="0">
              <a:buNone/>
              <a:defRPr sz="1417"/>
            </a:lvl2pPr>
            <a:lvl3pPr marL="1088473" indent="0">
              <a:buNone/>
              <a:defRPr sz="1167"/>
            </a:lvl3pPr>
            <a:lvl4pPr marL="1632711" indent="0">
              <a:buNone/>
              <a:defRPr sz="1083"/>
            </a:lvl4pPr>
            <a:lvl5pPr marL="2176947" indent="0">
              <a:buNone/>
              <a:defRPr sz="1083"/>
            </a:lvl5pPr>
            <a:lvl6pPr marL="2721184" indent="0">
              <a:buNone/>
              <a:defRPr sz="1083"/>
            </a:lvl6pPr>
            <a:lvl7pPr marL="3265420" indent="0">
              <a:buNone/>
              <a:defRPr sz="1083"/>
            </a:lvl7pPr>
            <a:lvl8pPr marL="3809657" indent="0">
              <a:buNone/>
              <a:defRPr sz="1083"/>
            </a:lvl8pPr>
            <a:lvl9pPr marL="4353894" indent="0">
              <a:buNone/>
              <a:defRPr sz="108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B42B60-F775-2640-9745-751F490B6292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B9EF4F-DBF0-224B-B15F-8C5B2C581F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2184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FCB782-6511-884A-AB9E-820237990E9C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A3C817-4775-8E43-827A-9B6300E73C0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4187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D93A39-762E-4245-AD74-71E0617585FA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E6D066-61F3-914D-B5DE-FBF01628CE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9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E342A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65600" y="3016207"/>
            <a:ext cx="6894654" cy="1362075"/>
          </a:xfrm>
        </p:spPr>
        <p:txBody>
          <a:bodyPr anchor="t"/>
          <a:lstStyle>
            <a:lvl1pPr algn="l">
              <a:defRPr sz="475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5601" y="4435885"/>
            <a:ext cx="4791919" cy="632085"/>
          </a:xfrm>
        </p:spPr>
        <p:txBody>
          <a:bodyPr anchor="b"/>
          <a:lstStyle>
            <a:lvl1pPr marL="0" indent="0">
              <a:buNone/>
              <a:defRPr sz="2417">
                <a:solidFill>
                  <a:schemeClr val="bg1"/>
                </a:solidFill>
              </a:defRPr>
            </a:lvl1pPr>
            <a:lvl2pPr marL="544237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473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71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94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118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42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65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89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E6F3ED2-6F8D-7D45-AF10-D2D3556D9BFD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7AF3C62-1A59-4F44-B82E-3DE82A2B46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44900" y="0"/>
            <a:ext cx="0" cy="6858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00" y="2063985"/>
            <a:ext cx="1450731" cy="791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299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A9E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165600" y="3016207"/>
            <a:ext cx="6894654" cy="1362075"/>
          </a:xfrm>
        </p:spPr>
        <p:txBody>
          <a:bodyPr anchor="t"/>
          <a:lstStyle>
            <a:lvl1pPr algn="l">
              <a:defRPr sz="475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165601" y="4435885"/>
            <a:ext cx="4791919" cy="632085"/>
          </a:xfrm>
        </p:spPr>
        <p:txBody>
          <a:bodyPr anchor="b"/>
          <a:lstStyle>
            <a:lvl1pPr marL="0" indent="0">
              <a:buNone/>
              <a:defRPr sz="2417">
                <a:solidFill>
                  <a:schemeClr val="bg1"/>
                </a:solidFill>
              </a:defRPr>
            </a:lvl1pPr>
            <a:lvl2pPr marL="544237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473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71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94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118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42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65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89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E6F3ED2-6F8D-7D45-AF10-D2D3556D9BFD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>
            <a:lvl1pPr>
              <a:defRPr dirty="0"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7AF3C62-1A59-4F44-B82E-3DE82A2B46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644900" y="0"/>
            <a:ext cx="0" cy="6858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00" y="2063985"/>
            <a:ext cx="1450731" cy="791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079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6786F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165600" y="3016207"/>
            <a:ext cx="6894654" cy="1362075"/>
          </a:xfrm>
        </p:spPr>
        <p:txBody>
          <a:bodyPr anchor="t"/>
          <a:lstStyle>
            <a:lvl1pPr algn="l">
              <a:defRPr sz="475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165601" y="4435885"/>
            <a:ext cx="4791919" cy="632085"/>
          </a:xfrm>
        </p:spPr>
        <p:txBody>
          <a:bodyPr anchor="b"/>
          <a:lstStyle>
            <a:lvl1pPr marL="0" indent="0">
              <a:buNone/>
              <a:defRPr sz="2417">
                <a:solidFill>
                  <a:schemeClr val="bg1"/>
                </a:solidFill>
              </a:defRPr>
            </a:lvl1pPr>
            <a:lvl2pPr marL="544237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1088473" indent="0">
              <a:buNone/>
              <a:defRPr sz="1917">
                <a:solidFill>
                  <a:schemeClr val="tx1">
                    <a:tint val="75000"/>
                  </a:schemeClr>
                </a:solidFill>
              </a:defRPr>
            </a:lvl3pPr>
            <a:lvl4pPr marL="1632711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4pPr>
            <a:lvl5pPr marL="217694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5pPr>
            <a:lvl6pPr marL="272118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6pPr>
            <a:lvl7pPr marL="326542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7pPr>
            <a:lvl8pPr marL="3809657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8pPr>
            <a:lvl9pPr marL="4353894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E6F3ED2-6F8D-7D45-AF10-D2D3556D9BFD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>
            <a:lvl1pPr>
              <a:defRPr dirty="0"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7AF3C62-1A59-4F44-B82E-3DE82A2B46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644900" y="0"/>
            <a:ext cx="0" cy="685800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00" y="2063985"/>
            <a:ext cx="1450731" cy="791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9701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84800" cy="4525963"/>
          </a:xfrm>
        </p:spPr>
        <p:txBody>
          <a:bodyPr/>
          <a:lstStyle>
            <a:lvl1pPr>
              <a:defRPr sz="3333"/>
            </a:lvl1pPr>
            <a:lvl2pPr>
              <a:defRPr sz="2833"/>
            </a:lvl2pPr>
            <a:lvl3pPr>
              <a:defRPr sz="2417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384800" cy="4525963"/>
          </a:xfrm>
        </p:spPr>
        <p:txBody>
          <a:bodyPr/>
          <a:lstStyle>
            <a:lvl1pPr>
              <a:defRPr sz="3333"/>
            </a:lvl1pPr>
            <a:lvl2pPr>
              <a:defRPr sz="2833"/>
            </a:lvl2pPr>
            <a:lvl3pPr>
              <a:defRPr sz="2417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31BE2A-2252-9444-B2E3-2D8A10A02AC2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7A8D63-065C-4A40-9406-8D88263CDD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738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8" cy="639762"/>
          </a:xfrm>
        </p:spPr>
        <p:txBody>
          <a:bodyPr anchor="b"/>
          <a:lstStyle>
            <a:lvl1pPr marL="0" indent="0">
              <a:buNone/>
              <a:defRPr sz="2833" b="1"/>
            </a:lvl1pPr>
            <a:lvl2pPr marL="544237" indent="0">
              <a:buNone/>
              <a:defRPr sz="2417" b="1"/>
            </a:lvl2pPr>
            <a:lvl3pPr marL="1088473" indent="0">
              <a:buNone/>
              <a:defRPr sz="2167" b="1"/>
            </a:lvl3pPr>
            <a:lvl4pPr marL="1632711" indent="0">
              <a:buNone/>
              <a:defRPr sz="1917" b="1"/>
            </a:lvl4pPr>
            <a:lvl5pPr marL="2176947" indent="0">
              <a:buNone/>
              <a:defRPr sz="1917" b="1"/>
            </a:lvl5pPr>
            <a:lvl6pPr marL="2721184" indent="0">
              <a:buNone/>
              <a:defRPr sz="1917" b="1"/>
            </a:lvl6pPr>
            <a:lvl7pPr marL="3265420" indent="0">
              <a:buNone/>
              <a:defRPr sz="1917" b="1"/>
            </a:lvl7pPr>
            <a:lvl8pPr marL="3809657" indent="0">
              <a:buNone/>
              <a:defRPr sz="1917" b="1"/>
            </a:lvl8pPr>
            <a:lvl9pPr marL="4353894" indent="0">
              <a:buNone/>
              <a:defRPr sz="1917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8" cy="3951288"/>
          </a:xfrm>
        </p:spPr>
        <p:txBody>
          <a:bodyPr/>
          <a:lstStyle>
            <a:lvl1pPr>
              <a:defRPr sz="2833"/>
            </a:lvl1pPr>
            <a:lvl2pPr>
              <a:defRPr sz="2417"/>
            </a:lvl2pPr>
            <a:lvl3pPr>
              <a:defRPr sz="2167"/>
            </a:lvl3pPr>
            <a:lvl4pPr>
              <a:defRPr sz="1917"/>
            </a:lvl4pPr>
            <a:lvl5pPr>
              <a:defRPr sz="1917"/>
            </a:lvl5pPr>
            <a:lvl6pPr>
              <a:defRPr sz="1917"/>
            </a:lvl6pPr>
            <a:lvl7pPr>
              <a:defRPr sz="1917"/>
            </a:lvl7pPr>
            <a:lvl8pPr>
              <a:defRPr sz="1917"/>
            </a:lvl8pPr>
            <a:lvl9pPr>
              <a:defRPr sz="191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833" b="1"/>
            </a:lvl1pPr>
            <a:lvl2pPr marL="544237" indent="0">
              <a:buNone/>
              <a:defRPr sz="2417" b="1"/>
            </a:lvl2pPr>
            <a:lvl3pPr marL="1088473" indent="0">
              <a:buNone/>
              <a:defRPr sz="2167" b="1"/>
            </a:lvl3pPr>
            <a:lvl4pPr marL="1632711" indent="0">
              <a:buNone/>
              <a:defRPr sz="1917" b="1"/>
            </a:lvl4pPr>
            <a:lvl5pPr marL="2176947" indent="0">
              <a:buNone/>
              <a:defRPr sz="1917" b="1"/>
            </a:lvl5pPr>
            <a:lvl6pPr marL="2721184" indent="0">
              <a:buNone/>
              <a:defRPr sz="1917" b="1"/>
            </a:lvl6pPr>
            <a:lvl7pPr marL="3265420" indent="0">
              <a:buNone/>
              <a:defRPr sz="1917" b="1"/>
            </a:lvl7pPr>
            <a:lvl8pPr marL="3809657" indent="0">
              <a:buNone/>
              <a:defRPr sz="1917" b="1"/>
            </a:lvl8pPr>
            <a:lvl9pPr marL="4353894" indent="0">
              <a:buNone/>
              <a:defRPr sz="1917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833"/>
            </a:lvl1pPr>
            <a:lvl2pPr>
              <a:defRPr sz="2417"/>
            </a:lvl2pPr>
            <a:lvl3pPr>
              <a:defRPr sz="2167"/>
            </a:lvl3pPr>
            <a:lvl4pPr>
              <a:defRPr sz="1917"/>
            </a:lvl4pPr>
            <a:lvl5pPr>
              <a:defRPr sz="1917"/>
            </a:lvl5pPr>
            <a:lvl6pPr>
              <a:defRPr sz="1917"/>
            </a:lvl6pPr>
            <a:lvl7pPr>
              <a:defRPr sz="1917"/>
            </a:lvl7pPr>
            <a:lvl8pPr>
              <a:defRPr sz="1917"/>
            </a:lvl8pPr>
            <a:lvl9pPr>
              <a:defRPr sz="191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0E48B2-B8F3-2E45-81FA-5DB8CEAC2FA2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CBA610-1FD4-6D4F-A58A-4231F7E62D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730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44B979-1B0D-3F40-B898-617F6316D246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26091A-6171-8549-AB50-E9BC0BD2A9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237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FC46B0-1CE3-E543-A2FD-586639F99AB1}" type="datetime1">
              <a:rPr lang="en-US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6817D4-C237-9C48-B055-D56E04DD881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300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7837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22" tIns="65311" rIns="130622" bIns="653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484745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130622" tIns="65311" rIns="130622" bIns="65311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17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5D20A858-274F-B841-B8FA-9BAD68F13E53}" type="datetime1">
              <a:rPr lang="en-US" smtClean="0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130622" tIns="65311" rIns="130622" bIns="65311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17" dirty="0" smtClean="0">
                <a:solidFill>
                  <a:schemeClr val="accent2"/>
                </a:solidFill>
                <a:latin typeface="+mn-lt"/>
                <a:ea typeface="+mn-ea"/>
                <a:cs typeface="DIN-Regular"/>
              </a:defRPr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130622" tIns="65311" rIns="130622" bIns="65311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17" smtClean="0">
                <a:solidFill>
                  <a:schemeClr val="accent2"/>
                </a:solidFill>
                <a:latin typeface="+mn-lt"/>
                <a:ea typeface="+mn-ea"/>
                <a:cs typeface="DIN-Regular"/>
              </a:defRPr>
            </a:lvl1pPr>
          </a:lstStyle>
          <a:p>
            <a:pPr>
              <a:defRPr/>
            </a:pPr>
            <a:fld id="{AA26E4DD-3705-C34F-BBF3-04369A652A4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83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</p:sldLayoutIdLst>
  <p:hf hdr="0"/>
  <p:txStyles>
    <p:titleStyle>
      <a:lvl1pPr algn="l" defTabSz="544237" rtl="0" eaLnBrk="1" fontAlgn="base" hangingPunct="1">
        <a:spcBef>
          <a:spcPct val="0"/>
        </a:spcBef>
        <a:spcAft>
          <a:spcPct val="0"/>
        </a:spcAft>
        <a:defRPr sz="5250" b="0" i="0" kern="1200">
          <a:solidFill>
            <a:schemeClr val="bg1"/>
          </a:solidFill>
          <a:latin typeface="+mj-lt"/>
          <a:ea typeface="DIN-Regular" charset="0"/>
          <a:cs typeface="DIN-Regular" charset="0"/>
        </a:defRPr>
      </a:lvl1pPr>
      <a:lvl2pPr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2pPr>
      <a:lvl3pPr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3pPr>
      <a:lvl4pPr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4pPr>
      <a:lvl5pPr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5pPr>
      <a:lvl6pPr marL="544237"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6pPr>
      <a:lvl7pPr marL="1088473"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7pPr>
      <a:lvl8pPr marL="1632711"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8pPr>
      <a:lvl9pPr marL="2176947"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9pPr>
    </p:titleStyle>
    <p:bodyStyle>
      <a:lvl1pPr marL="408178" indent="-40817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833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1pPr>
      <a:lvl2pPr marL="884385" indent="-34014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333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2pPr>
      <a:lvl3pPr marL="1360592" indent="-27211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33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3pPr>
      <a:lvl4pPr marL="1904829" indent="-27211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17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4pPr>
      <a:lvl5pPr marL="2449065" indent="-27211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17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5pPr>
      <a:lvl6pPr marL="2993302" indent="-272118" algn="l" defTabSz="544237" rtl="0" eaLnBrk="1" latinLnBrk="0" hangingPunct="1">
        <a:spcBef>
          <a:spcPct val="20000"/>
        </a:spcBef>
        <a:buFont typeface="Arial"/>
        <a:buChar char="•"/>
        <a:defRPr sz="2417" kern="1200">
          <a:solidFill>
            <a:schemeClr val="tx1"/>
          </a:solidFill>
          <a:latin typeface="+mn-lt"/>
          <a:ea typeface="+mn-ea"/>
          <a:cs typeface="+mn-cs"/>
        </a:defRPr>
      </a:lvl6pPr>
      <a:lvl7pPr marL="3537538" indent="-272118" algn="l" defTabSz="544237" rtl="0" eaLnBrk="1" latinLnBrk="0" hangingPunct="1">
        <a:spcBef>
          <a:spcPct val="20000"/>
        </a:spcBef>
        <a:buFont typeface="Arial"/>
        <a:buChar char="•"/>
        <a:defRPr sz="2417" kern="1200">
          <a:solidFill>
            <a:schemeClr val="tx1"/>
          </a:solidFill>
          <a:latin typeface="+mn-lt"/>
          <a:ea typeface="+mn-ea"/>
          <a:cs typeface="+mn-cs"/>
        </a:defRPr>
      </a:lvl7pPr>
      <a:lvl8pPr marL="4081776" indent="-272118" algn="l" defTabSz="544237" rtl="0" eaLnBrk="1" latinLnBrk="0" hangingPunct="1">
        <a:spcBef>
          <a:spcPct val="20000"/>
        </a:spcBef>
        <a:buFont typeface="Arial"/>
        <a:buChar char="•"/>
        <a:defRPr sz="2417" kern="1200">
          <a:solidFill>
            <a:schemeClr val="tx1"/>
          </a:solidFill>
          <a:latin typeface="+mn-lt"/>
          <a:ea typeface="+mn-ea"/>
          <a:cs typeface="+mn-cs"/>
        </a:defRPr>
      </a:lvl8pPr>
      <a:lvl9pPr marL="4626012" indent="-272118" algn="l" defTabSz="544237" rtl="0" eaLnBrk="1" latinLnBrk="0" hangingPunct="1">
        <a:spcBef>
          <a:spcPct val="20000"/>
        </a:spcBef>
        <a:buFont typeface="Arial"/>
        <a:buChar char="•"/>
        <a:defRPr sz="24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1pPr>
      <a:lvl2pPr marL="544237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2pPr>
      <a:lvl3pPr marL="1088473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3pPr>
      <a:lvl4pPr marL="1632711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176947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21184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65420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809657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353894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78373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22" tIns="65311" rIns="130622" bIns="653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484745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22" tIns="65311" rIns="130622" bIns="653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130622" tIns="65311" rIns="130622" bIns="65311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17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5D20A858-274F-B841-B8FA-9BAD68F13E53}" type="datetime1">
              <a:rPr lang="en-US" smtClean="0"/>
              <a:pPr>
                <a:defRPr/>
              </a:pPr>
              <a:t>7/2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130622" tIns="65311" rIns="130622" bIns="65311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17" dirty="0" smtClean="0">
                <a:solidFill>
                  <a:schemeClr val="accent2"/>
                </a:solidFill>
                <a:latin typeface="+mn-lt"/>
                <a:ea typeface="+mn-ea"/>
                <a:cs typeface="DIN-Regular"/>
              </a:defRPr>
            </a:lvl1pPr>
          </a:lstStyle>
          <a:p>
            <a:pPr>
              <a:defRPr/>
            </a:pPr>
            <a:r>
              <a:rPr lang="en-US" dirty="0"/>
              <a:t>Company Confidential  ©2017 Eli Lilly and Compan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130622" tIns="65311" rIns="130622" bIns="65311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17" smtClean="0">
                <a:solidFill>
                  <a:schemeClr val="accent2"/>
                </a:solidFill>
                <a:latin typeface="+mn-lt"/>
                <a:ea typeface="+mn-ea"/>
                <a:cs typeface="DIN-Regular"/>
              </a:defRPr>
            </a:lvl1pPr>
          </a:lstStyle>
          <a:p>
            <a:pPr>
              <a:defRPr/>
            </a:pPr>
            <a:fld id="{AA26E4DD-3705-C34F-BBF3-04369A652A4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846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</p:sldLayoutIdLst>
  <p:hf hdr="0"/>
  <p:txStyles>
    <p:titleStyle>
      <a:lvl1pPr algn="l" defTabSz="544237" rtl="0" eaLnBrk="1" fontAlgn="base" hangingPunct="1">
        <a:spcBef>
          <a:spcPct val="0"/>
        </a:spcBef>
        <a:spcAft>
          <a:spcPct val="0"/>
        </a:spcAft>
        <a:defRPr sz="5250" b="0" i="0" kern="1200">
          <a:solidFill>
            <a:schemeClr val="bg1"/>
          </a:solidFill>
          <a:latin typeface="+mj-lt"/>
          <a:ea typeface="DIN-Regular" charset="0"/>
          <a:cs typeface="DIN-Regular" charset="0"/>
        </a:defRPr>
      </a:lvl1pPr>
      <a:lvl2pPr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2pPr>
      <a:lvl3pPr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3pPr>
      <a:lvl4pPr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4pPr>
      <a:lvl5pPr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5pPr>
      <a:lvl6pPr marL="544237"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6pPr>
      <a:lvl7pPr marL="1088473"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7pPr>
      <a:lvl8pPr marL="1632711"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8pPr>
      <a:lvl9pPr marL="2176947" algn="l" defTabSz="544237" rtl="0" eaLnBrk="1" fontAlgn="base" hangingPunct="1">
        <a:spcBef>
          <a:spcPct val="0"/>
        </a:spcBef>
        <a:spcAft>
          <a:spcPct val="0"/>
        </a:spcAft>
        <a:defRPr sz="5250">
          <a:solidFill>
            <a:srgbClr val="FFFFFF"/>
          </a:solidFill>
          <a:latin typeface="Arial" charset="0"/>
          <a:ea typeface="ＭＳ Ｐゴシック" charset="0"/>
        </a:defRPr>
      </a:lvl9pPr>
    </p:titleStyle>
    <p:bodyStyle>
      <a:lvl1pPr marL="408178" indent="-40817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833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1pPr>
      <a:lvl2pPr marL="884385" indent="-34014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333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2pPr>
      <a:lvl3pPr marL="1360592" indent="-27211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33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3pPr>
      <a:lvl4pPr marL="1904829" indent="-27211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17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4pPr>
      <a:lvl5pPr marL="2449065" indent="-272118" algn="l" defTabSz="544237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17" b="0" i="0" kern="1200">
          <a:solidFill>
            <a:schemeClr val="tx1"/>
          </a:solidFill>
          <a:latin typeface="+mj-lt"/>
          <a:ea typeface="DIN-Regular" charset="0"/>
          <a:cs typeface="DIN-Regular" charset="0"/>
        </a:defRPr>
      </a:lvl5pPr>
      <a:lvl6pPr marL="2993302" indent="-272118" algn="l" defTabSz="544237" rtl="0" eaLnBrk="1" latinLnBrk="0" hangingPunct="1">
        <a:spcBef>
          <a:spcPct val="20000"/>
        </a:spcBef>
        <a:buFont typeface="Arial"/>
        <a:buChar char="•"/>
        <a:defRPr sz="2417" kern="1200">
          <a:solidFill>
            <a:schemeClr val="tx1"/>
          </a:solidFill>
          <a:latin typeface="+mn-lt"/>
          <a:ea typeface="+mn-ea"/>
          <a:cs typeface="+mn-cs"/>
        </a:defRPr>
      </a:lvl6pPr>
      <a:lvl7pPr marL="3537538" indent="-272118" algn="l" defTabSz="544237" rtl="0" eaLnBrk="1" latinLnBrk="0" hangingPunct="1">
        <a:spcBef>
          <a:spcPct val="20000"/>
        </a:spcBef>
        <a:buFont typeface="Arial"/>
        <a:buChar char="•"/>
        <a:defRPr sz="2417" kern="1200">
          <a:solidFill>
            <a:schemeClr val="tx1"/>
          </a:solidFill>
          <a:latin typeface="+mn-lt"/>
          <a:ea typeface="+mn-ea"/>
          <a:cs typeface="+mn-cs"/>
        </a:defRPr>
      </a:lvl7pPr>
      <a:lvl8pPr marL="4081776" indent="-272118" algn="l" defTabSz="544237" rtl="0" eaLnBrk="1" latinLnBrk="0" hangingPunct="1">
        <a:spcBef>
          <a:spcPct val="20000"/>
        </a:spcBef>
        <a:buFont typeface="Arial"/>
        <a:buChar char="•"/>
        <a:defRPr sz="2417" kern="1200">
          <a:solidFill>
            <a:schemeClr val="tx1"/>
          </a:solidFill>
          <a:latin typeface="+mn-lt"/>
          <a:ea typeface="+mn-ea"/>
          <a:cs typeface="+mn-cs"/>
        </a:defRPr>
      </a:lvl8pPr>
      <a:lvl9pPr marL="4626012" indent="-272118" algn="l" defTabSz="544237" rtl="0" eaLnBrk="1" latinLnBrk="0" hangingPunct="1">
        <a:spcBef>
          <a:spcPct val="20000"/>
        </a:spcBef>
        <a:buFont typeface="Arial"/>
        <a:buChar char="•"/>
        <a:defRPr sz="24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1pPr>
      <a:lvl2pPr marL="544237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2pPr>
      <a:lvl3pPr marL="1088473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3pPr>
      <a:lvl4pPr marL="1632711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176947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21184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65420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809657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353894" algn="l" defTabSz="544237" rtl="0" eaLnBrk="1" latinLnBrk="0" hangingPunct="1"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9.emf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994" y="858244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994" y="858244"/>
                        <a:ext cx="992" cy="9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255972" y="197032"/>
            <a:ext cx="8229600" cy="1063229"/>
          </a:xfrm>
          <a:prstGeom prst="rect">
            <a:avLst/>
          </a:prstGeom>
        </p:spPr>
        <p:txBody>
          <a:bodyPr anchor="ctr"/>
          <a:lstStyle>
            <a:lvl1pPr algn="l" defTabSz="653110" rtl="0" eaLnBrk="1" latinLnBrk="0" hangingPunct="1">
              <a:spcBef>
                <a:spcPct val="0"/>
              </a:spcBef>
              <a:buNone/>
              <a:defRPr sz="6300" kern="1200">
                <a:solidFill>
                  <a:schemeClr val="bg1"/>
                </a:solidFill>
                <a:latin typeface="+mj-lt"/>
                <a:ea typeface="+mj-ea"/>
                <a:cs typeface="DIN-Regular"/>
              </a:defRPr>
            </a:lvl1pPr>
          </a:lstStyle>
          <a:p>
            <a:pPr defTabSz="489814" fontAlgn="base">
              <a:spcAft>
                <a:spcPct val="0"/>
              </a:spcAft>
              <a:defRPr/>
            </a:pPr>
            <a:r>
              <a:rPr lang="en-US" sz="3667" dirty="0">
                <a:solidFill>
                  <a:prstClr val="white"/>
                </a:solidFill>
                <a:latin typeface="DIN-Regular" panose="020B0500000000000000" pitchFamily="34" charset="0"/>
              </a:rPr>
              <a:t>Lilly Connected Care Cloud (LC3)</a:t>
            </a:r>
          </a:p>
        </p:txBody>
      </p:sp>
      <p:sp>
        <p:nvSpPr>
          <p:cNvPr id="2" name="Rectangle 1"/>
          <p:cNvSpPr/>
          <p:nvPr/>
        </p:nvSpPr>
        <p:spPr>
          <a:xfrm>
            <a:off x="9988030" y="59877"/>
            <a:ext cx="2135605" cy="11900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37" fontAlgn="base">
              <a:spcBef>
                <a:spcPct val="0"/>
              </a:spcBef>
              <a:spcAft>
                <a:spcPct val="0"/>
              </a:spcAft>
            </a:pPr>
            <a:endParaRPr lang="en-US" sz="150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40" name="Picture 139" descr="/Volumes/WINHOME/Icons/Phoenix_Architecture.pn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654" y="137274"/>
            <a:ext cx="1898303" cy="1038854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Oval 140"/>
          <p:cNvSpPr/>
          <p:nvPr/>
        </p:nvSpPr>
        <p:spPr>
          <a:xfrm>
            <a:off x="10832787" y="827486"/>
            <a:ext cx="339203" cy="376728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37"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879167" y="1463599"/>
            <a:ext cx="4925290" cy="2177933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>
            <a:noAutofit/>
          </a:bodyPr>
          <a:lstStyle>
            <a:lvl1pPr marL="489833" indent="-489833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61304" indent="-408194" algn="l" defTabSz="65311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632776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2285886" indent="-326555" algn="l" defTabSz="65311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938996" indent="-326555" algn="l" defTabSz="65311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592106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6207" lvl="1" indent="0" defTabSz="544237" fontAlgn="base">
              <a:spcAft>
                <a:spcPct val="0"/>
              </a:spcAft>
              <a:buNone/>
            </a:pPr>
            <a:r>
              <a:rPr lang="en-US" sz="2500" dirty="0">
                <a:solidFill>
                  <a:srgbClr val="000000"/>
                </a:solidFill>
              </a:rPr>
              <a:t>Hosted on Amazon Web Services cloud (us-east-1)</a:t>
            </a:r>
          </a:p>
          <a:p>
            <a:pPr marL="884385" lvl="1" indent="-340148" defTabSz="544237" fontAlgn="base">
              <a:spcAft>
                <a:spcPct val="0"/>
              </a:spcAft>
            </a:pPr>
            <a:r>
              <a:rPr lang="en-US" sz="2500" dirty="0">
                <a:solidFill>
                  <a:srgbClr val="000000"/>
                </a:solidFill>
              </a:rPr>
              <a:t>Single region, multi-availability zone implementation</a:t>
            </a:r>
          </a:p>
          <a:p>
            <a:pPr marL="884385" lvl="1" indent="-340148" defTabSz="544237" fontAlgn="base">
              <a:spcAft>
                <a:spcPct val="0"/>
              </a:spcAft>
            </a:pPr>
            <a:r>
              <a:rPr lang="en-US" sz="2500" dirty="0">
                <a:solidFill>
                  <a:srgbClr val="000000"/>
                </a:solidFill>
              </a:rPr>
              <a:t>Docker container-based deployment</a:t>
            </a:r>
          </a:p>
          <a:p>
            <a:pPr marL="884385" lvl="1" indent="-340148" defTabSz="544237" fontAlgn="base">
              <a:spcAft>
                <a:spcPct val="0"/>
              </a:spcAft>
            </a:pPr>
            <a:r>
              <a:rPr lang="en-US" sz="2500" dirty="0">
                <a:solidFill>
                  <a:srgbClr val="000000"/>
                </a:solidFill>
              </a:rPr>
              <a:t>AWS Elastic Container Services for scalability and availability</a:t>
            </a:r>
          </a:p>
          <a:p>
            <a:pPr marL="884385" lvl="1" indent="-340148" defTabSz="544237" fontAlgn="base">
              <a:spcAft>
                <a:spcPct val="0"/>
              </a:spcAft>
            </a:pPr>
            <a:r>
              <a:rPr lang="en-US" sz="2500" dirty="0">
                <a:solidFill>
                  <a:srgbClr val="000000"/>
                </a:solidFill>
              </a:rPr>
              <a:t>AWS </a:t>
            </a:r>
            <a:r>
              <a:rPr lang="en-US" sz="2500" dirty="0" err="1">
                <a:solidFill>
                  <a:srgbClr val="000000"/>
                </a:solidFill>
              </a:rPr>
              <a:t>CloudWatch</a:t>
            </a:r>
            <a:r>
              <a:rPr lang="en-US" sz="2500" dirty="0">
                <a:solidFill>
                  <a:srgbClr val="000000"/>
                </a:solidFill>
              </a:rPr>
              <a:t>, </a:t>
            </a:r>
            <a:r>
              <a:rPr lang="en-US" sz="2500" dirty="0" err="1">
                <a:solidFill>
                  <a:srgbClr val="000000"/>
                </a:solidFill>
              </a:rPr>
              <a:t>CloudTtrail</a:t>
            </a:r>
            <a:r>
              <a:rPr lang="en-US" sz="2500" dirty="0">
                <a:solidFill>
                  <a:srgbClr val="000000"/>
                </a:solidFill>
              </a:rPr>
              <a:t> for cloud </a:t>
            </a:r>
            <a:r>
              <a:rPr lang="en-US" sz="2500" dirty="0" err="1">
                <a:solidFill>
                  <a:srgbClr val="000000"/>
                </a:solidFill>
              </a:rPr>
              <a:t>svcs+infrastructure</a:t>
            </a:r>
            <a:r>
              <a:rPr lang="en-US" sz="2500" dirty="0">
                <a:solidFill>
                  <a:srgbClr val="000000"/>
                </a:solidFill>
              </a:rPr>
              <a:t> event logging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8305" y="1437338"/>
            <a:ext cx="6919528" cy="531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653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926918" y="0"/>
            <a:ext cx="4265083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37" fontAlgn="base">
              <a:spcBef>
                <a:spcPct val="0"/>
              </a:spcBef>
              <a:spcAft>
                <a:spcPct val="0"/>
              </a:spcAft>
            </a:pPr>
            <a:endParaRPr lang="en-US" sz="150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1921" y="95334"/>
            <a:ext cx="4084280" cy="669093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994" y="858244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994" y="858244"/>
                        <a:ext cx="992" cy="9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255972" y="197032"/>
            <a:ext cx="8229600" cy="1063229"/>
          </a:xfrm>
          <a:prstGeom prst="rect">
            <a:avLst/>
          </a:prstGeom>
        </p:spPr>
        <p:txBody>
          <a:bodyPr anchor="ctr"/>
          <a:lstStyle>
            <a:lvl1pPr algn="l" defTabSz="653110" rtl="0" eaLnBrk="1" latinLnBrk="0" hangingPunct="1">
              <a:spcBef>
                <a:spcPct val="0"/>
              </a:spcBef>
              <a:buNone/>
              <a:defRPr sz="6300" kern="1200">
                <a:solidFill>
                  <a:schemeClr val="bg1"/>
                </a:solidFill>
                <a:latin typeface="+mj-lt"/>
                <a:ea typeface="+mj-ea"/>
                <a:cs typeface="DIN-Regular"/>
              </a:defRPr>
            </a:lvl1pPr>
          </a:lstStyle>
          <a:p>
            <a:pPr defTabSz="489814" fontAlgn="base">
              <a:spcAft>
                <a:spcPct val="0"/>
              </a:spcAft>
              <a:defRPr/>
            </a:pPr>
            <a:r>
              <a:rPr lang="en-US" sz="3667" dirty="0">
                <a:solidFill>
                  <a:prstClr val="white"/>
                </a:solidFill>
                <a:latin typeface="DIN-Regular" panose="020B0500000000000000" pitchFamily="34" charset="0"/>
              </a:rPr>
              <a:t>Lilly Connected Care Cloud (LC3)</a:t>
            </a:r>
          </a:p>
        </p:txBody>
      </p:sp>
      <p:sp>
        <p:nvSpPr>
          <p:cNvPr id="142" name="Content Placeholder 4"/>
          <p:cNvSpPr txBox="1">
            <a:spLocks/>
          </p:cNvSpPr>
          <p:nvPr/>
        </p:nvSpPr>
        <p:spPr>
          <a:xfrm>
            <a:off x="245946" y="1484766"/>
            <a:ext cx="7480445" cy="2177933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>
            <a:noAutofit/>
          </a:bodyPr>
          <a:lstStyle>
            <a:lvl1pPr marL="489833" indent="-489833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061304" indent="-408194" algn="l" defTabSz="65311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632776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2285886" indent="-326555" algn="l" defTabSz="65311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938996" indent="-326555" algn="l" defTabSz="65311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592106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653110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8178" indent="-408178" defTabSz="544237" fontAlgn="base">
              <a:spcAft>
                <a:spcPct val="0"/>
              </a:spcAft>
            </a:pPr>
            <a:r>
              <a:rPr lang="en-US" sz="2667" dirty="0" err="1">
                <a:solidFill>
                  <a:srgbClr val="000000"/>
                </a:solidFill>
              </a:rPr>
              <a:t>Microservices</a:t>
            </a:r>
            <a:r>
              <a:rPr lang="en-US" sz="2667" dirty="0">
                <a:solidFill>
                  <a:srgbClr val="000000"/>
                </a:solidFill>
              </a:rPr>
              <a:t> written in Node.js utilizing HAPI + </a:t>
            </a:r>
            <a:r>
              <a:rPr lang="en-US" sz="2667" dirty="0" err="1">
                <a:solidFill>
                  <a:srgbClr val="000000"/>
                </a:solidFill>
              </a:rPr>
              <a:t>add’l</a:t>
            </a:r>
            <a:r>
              <a:rPr lang="en-US" sz="2667" dirty="0">
                <a:solidFill>
                  <a:srgbClr val="000000"/>
                </a:solidFill>
              </a:rPr>
              <a:t> JS frameworks – called by gateway services</a:t>
            </a:r>
          </a:p>
          <a:p>
            <a:pPr marL="408178" indent="-408178" defTabSz="544237" fontAlgn="base">
              <a:spcAft>
                <a:spcPct val="0"/>
              </a:spcAft>
            </a:pPr>
            <a:r>
              <a:rPr lang="en-US" sz="2667" dirty="0">
                <a:solidFill>
                  <a:srgbClr val="000000"/>
                </a:solidFill>
              </a:rPr>
              <a:t>Services built as individual Docker containers</a:t>
            </a:r>
          </a:p>
          <a:p>
            <a:pPr marL="408178" indent="-408178" defTabSz="544237" fontAlgn="base">
              <a:spcAft>
                <a:spcPct val="0"/>
              </a:spcAft>
            </a:pPr>
            <a:r>
              <a:rPr lang="en-US" sz="2667" dirty="0">
                <a:solidFill>
                  <a:srgbClr val="000000"/>
                </a:solidFill>
              </a:rPr>
              <a:t>Deploying multiple Docker containers (services) per EC2 instance (based on load, complexity, </a:t>
            </a:r>
            <a:r>
              <a:rPr lang="en-US" sz="2667" dirty="0" err="1">
                <a:solidFill>
                  <a:srgbClr val="000000"/>
                </a:solidFill>
              </a:rPr>
              <a:t>etc</a:t>
            </a:r>
            <a:r>
              <a:rPr lang="en-US" sz="2667" dirty="0">
                <a:solidFill>
                  <a:srgbClr val="000000"/>
                </a:solidFill>
              </a:rPr>
              <a:t>)</a:t>
            </a:r>
          </a:p>
          <a:p>
            <a:pPr marL="408178" indent="-408178" defTabSz="544237" fontAlgn="base">
              <a:spcAft>
                <a:spcPct val="0"/>
              </a:spcAft>
            </a:pPr>
            <a:r>
              <a:rPr lang="en-US" sz="2667" dirty="0">
                <a:solidFill>
                  <a:srgbClr val="000000"/>
                </a:solidFill>
              </a:rPr>
              <a:t>Running multiple EC2 instances across availability zones for fault tolerance and scalability</a:t>
            </a:r>
          </a:p>
          <a:p>
            <a:pPr marL="408178" indent="-408178" defTabSz="544237" fontAlgn="base">
              <a:spcAft>
                <a:spcPct val="0"/>
              </a:spcAft>
            </a:pPr>
            <a:r>
              <a:rPr lang="en-US" sz="2667" dirty="0">
                <a:solidFill>
                  <a:srgbClr val="000000"/>
                </a:solidFill>
              </a:rPr>
              <a:t>Separate instance of </a:t>
            </a:r>
            <a:r>
              <a:rPr lang="en-US" sz="2667" dirty="0" err="1">
                <a:solidFill>
                  <a:srgbClr val="000000"/>
                </a:solidFill>
              </a:rPr>
              <a:t>Postgres</a:t>
            </a:r>
            <a:r>
              <a:rPr lang="en-US" sz="2667" dirty="0">
                <a:solidFill>
                  <a:srgbClr val="000000"/>
                </a:solidFill>
              </a:rPr>
              <a:t> (relational DB) per each </a:t>
            </a:r>
            <a:r>
              <a:rPr lang="en-US" sz="2667" dirty="0" err="1">
                <a:solidFill>
                  <a:srgbClr val="000000"/>
                </a:solidFill>
              </a:rPr>
              <a:t>microservice</a:t>
            </a:r>
            <a:r>
              <a:rPr lang="en-US" sz="2667" dirty="0">
                <a:solidFill>
                  <a:srgbClr val="000000"/>
                </a:solidFill>
              </a:rPr>
              <a:t> – each is separately encrypted</a:t>
            </a:r>
          </a:p>
          <a:p>
            <a:pPr marL="884385" lvl="1" indent="-340148" defTabSz="544237" fontAlgn="base">
              <a:spcAft>
                <a:spcPct val="0"/>
              </a:spcAft>
            </a:pPr>
            <a:r>
              <a:rPr lang="en-US" sz="2333" dirty="0">
                <a:solidFill>
                  <a:srgbClr val="000000"/>
                </a:solidFill>
              </a:rPr>
              <a:t>multiple instances of a service share same database instances.  Master and standby databases spread across availability zones.  Use read replicas for DR.</a:t>
            </a:r>
          </a:p>
        </p:txBody>
      </p:sp>
    </p:spTree>
    <p:extLst>
      <p:ext uri="{BB962C8B-B14F-4D97-AF65-F5344CB8AC3E}">
        <p14:creationId xmlns:p14="http://schemas.microsoft.com/office/powerpoint/2010/main" val="674078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WS </a:t>
            </a:r>
            <a:r>
              <a:rPr lang="en-US" dirty="0" err="1" smtClean="0"/>
              <a:t>Serverless</a:t>
            </a:r>
            <a:r>
              <a:rPr lang="en-US" dirty="0" smtClean="0"/>
              <a:t> Deployment  Pipeline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1237" y="2137569"/>
            <a:ext cx="7629525" cy="321945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5910C0-F0E4-3B4A-8D46-358441509B60}" type="datetime1">
              <a:rPr lang="en-US" smtClean="0"/>
              <a:pPr>
                <a:defRPr/>
              </a:pPr>
              <a:t>7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mpany Confidential  ©2017 Eli Lilly and Compan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E4A9EC-2F93-AA4A-8BF5-70DF04282848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98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WS Container Deployment </a:t>
            </a:r>
            <a:r>
              <a:rPr lang="en-US" dirty="0" err="1" smtClean="0"/>
              <a:t>Pipelo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5910C0-F0E4-3B4A-8D46-358441509B60}" type="datetime1">
              <a:rPr lang="en-US" smtClean="0"/>
              <a:pPr>
                <a:defRPr/>
              </a:pPr>
              <a:t>7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mpany Confidential  ©2017 Eli Lilly and Compan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E4A9EC-2F93-AA4A-8BF5-70DF0428284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0300" y="2042319"/>
            <a:ext cx="7391400" cy="3409950"/>
          </a:xfrm>
        </p:spPr>
      </p:pic>
    </p:spTree>
    <p:extLst>
      <p:ext uri="{BB962C8B-B14F-4D97-AF65-F5344CB8AC3E}">
        <p14:creationId xmlns:p14="http://schemas.microsoft.com/office/powerpoint/2010/main" val="2701715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WS Continuous deployment Pipeli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5910C0-F0E4-3B4A-8D46-358441509B60}" type="datetime1">
              <a:rPr lang="en-US" smtClean="0"/>
              <a:pPr>
                <a:defRPr/>
              </a:pPr>
              <a:t>7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mpany Confidential  ©2017 Eli Lilly and Compan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E4A9EC-2F93-AA4A-8BF5-70DF04282848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6545" y="1484313"/>
            <a:ext cx="7338910" cy="4525962"/>
          </a:xfrm>
        </p:spPr>
      </p:pic>
    </p:spTree>
    <p:extLst>
      <p:ext uri="{BB962C8B-B14F-4D97-AF65-F5344CB8AC3E}">
        <p14:creationId xmlns:p14="http://schemas.microsoft.com/office/powerpoint/2010/main" val="3545016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WS Server less Pipeline model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1237" y="2137569"/>
            <a:ext cx="7629525" cy="321945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5910C0-F0E4-3B4A-8D46-358441509B60}" type="datetime1">
              <a:rPr lang="en-US" smtClean="0"/>
              <a:pPr>
                <a:defRPr/>
              </a:pPr>
              <a:t>7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mpany Confidential  ©2017 Eli Lilly and Compan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E4A9EC-2F93-AA4A-8BF5-70DF04282848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053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WS Logical State – Services 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352843"/>
            <a:ext cx="6820677" cy="5003508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5910C0-F0E4-3B4A-8D46-358441509B60}" type="datetime1">
              <a:rPr lang="en-US" smtClean="0"/>
              <a:pPr>
                <a:defRPr/>
              </a:pPr>
              <a:t>7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mpany Confidential  ©2017 Eli Lilly and Compan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E4A9EC-2F93-AA4A-8BF5-70DF04282848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708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age management flow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7925" y="2551906"/>
            <a:ext cx="7296150" cy="2390775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05910C0-F0E4-3B4A-8D46-358441509B60}" type="datetime1">
              <a:rPr lang="en-US" smtClean="0"/>
              <a:pPr>
                <a:defRPr/>
              </a:pPr>
              <a:t>7/3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mpany Confidential  ©2017 Eli Lilly and Compan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E4A9EC-2F93-AA4A-8BF5-70DF04282848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745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Rectangle 165">
            <a:extLst>
              <a:ext uri="{FF2B5EF4-FFF2-40B4-BE49-F238E27FC236}">
                <a16:creationId xmlns:a16="http://schemas.microsoft.com/office/drawing/2014/main" id="{4481641D-9924-4A3E-BC6F-9AEFFF6094D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4237" fontAlgn="base">
              <a:spcBef>
                <a:spcPct val="0"/>
              </a:spcBef>
              <a:spcAft>
                <a:spcPct val="0"/>
              </a:spcAft>
            </a:pPr>
            <a:endParaRPr lang="en-US" sz="150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311902" y="1667372"/>
            <a:ext cx="1124712" cy="3523257"/>
            <a:chOff x="311903" y="3069303"/>
            <a:chExt cx="1124712" cy="3523257"/>
          </a:xfrm>
        </p:grpSpPr>
        <p:sp>
          <p:nvSpPr>
            <p:cNvPr id="175" name="Rounded Rectangle 174"/>
            <p:cNvSpPr/>
            <p:nvPr/>
          </p:nvSpPr>
          <p:spPr>
            <a:xfrm>
              <a:off x="311903" y="3069303"/>
              <a:ext cx="1124712" cy="3523257"/>
            </a:xfrm>
            <a:prstGeom prst="roundRect">
              <a:avLst>
                <a:gd name="adj" fmla="val 8232"/>
              </a:avLst>
            </a:prstGeom>
            <a:solidFill>
              <a:srgbClr val="660066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Account Support</a:t>
              </a:r>
            </a:p>
          </p:txBody>
        </p:sp>
        <p:sp>
          <p:nvSpPr>
            <p:cNvPr id="2" name="Rounded Rectangle 1"/>
            <p:cNvSpPr/>
            <p:nvPr/>
          </p:nvSpPr>
          <p:spPr>
            <a:xfrm>
              <a:off x="328860" y="3344877"/>
              <a:ext cx="1097280" cy="294774"/>
            </a:xfrm>
            <a:prstGeom prst="round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upport</a:t>
              </a:r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328860" y="3711840"/>
              <a:ext cx="1097280" cy="294774"/>
            </a:xfrm>
            <a:prstGeom prst="round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Managed Services</a:t>
              </a:r>
            </a:p>
          </p:txBody>
        </p:sp>
        <p:sp>
          <p:nvSpPr>
            <p:cNvPr id="4" name="Rounded Rectangle 3"/>
            <p:cNvSpPr/>
            <p:nvPr/>
          </p:nvSpPr>
          <p:spPr>
            <a:xfrm>
              <a:off x="328859" y="4078803"/>
              <a:ext cx="1097280" cy="294774"/>
            </a:xfrm>
            <a:prstGeom prst="round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Professional Services</a:t>
              </a:r>
            </a:p>
          </p:txBody>
        </p:sp>
        <p:sp>
          <p:nvSpPr>
            <p:cNvPr id="5" name="Rounded Rectangle 4"/>
            <p:cNvSpPr/>
            <p:nvPr/>
          </p:nvSpPr>
          <p:spPr>
            <a:xfrm>
              <a:off x="328859" y="4445766"/>
              <a:ext cx="1097280" cy="294774"/>
            </a:xfrm>
            <a:prstGeom prst="round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Partner Ecosystem</a:t>
              </a: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328858" y="4812729"/>
              <a:ext cx="1097280" cy="294774"/>
            </a:xfrm>
            <a:prstGeom prst="round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Training &amp; Certification</a:t>
              </a: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328857" y="5179692"/>
              <a:ext cx="1097280" cy="294774"/>
            </a:xfrm>
            <a:prstGeom prst="round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olution Architects</a:t>
              </a: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28856" y="5546655"/>
              <a:ext cx="1097280" cy="294774"/>
            </a:xfrm>
            <a:prstGeom prst="round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ccount Management</a:t>
              </a: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328855" y="5913618"/>
              <a:ext cx="1097280" cy="294774"/>
            </a:xfrm>
            <a:prstGeom prst="round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ecurity &amp; Pricing Reports</a:t>
              </a: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328855" y="6280581"/>
              <a:ext cx="1097280" cy="294774"/>
            </a:xfrm>
            <a:prstGeom prst="roundRect">
              <a:avLst/>
            </a:prstGeom>
            <a:solidFill>
              <a:srgbClr val="6600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Technical Acct. Management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104526" y="194066"/>
            <a:ext cx="1042416" cy="3152158"/>
            <a:chOff x="2104526" y="200896"/>
            <a:chExt cx="1042416" cy="3152158"/>
          </a:xfrm>
        </p:grpSpPr>
        <p:sp>
          <p:nvSpPr>
            <p:cNvPr id="172" name="Rounded Rectangle 171"/>
            <p:cNvSpPr/>
            <p:nvPr/>
          </p:nvSpPr>
          <p:spPr>
            <a:xfrm>
              <a:off x="2104526" y="200896"/>
              <a:ext cx="1042416" cy="3152158"/>
            </a:xfrm>
            <a:prstGeom prst="roundRect">
              <a:avLst>
                <a:gd name="adj" fmla="val 8232"/>
              </a:avLst>
            </a:prstGeom>
            <a:solidFill>
              <a:srgbClr val="B23333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Marketplace</a:t>
              </a:r>
            </a:p>
          </p:txBody>
        </p:sp>
        <p:sp>
          <p:nvSpPr>
            <p:cNvPr id="108" name="Rounded Rectangle 107"/>
            <p:cNvSpPr/>
            <p:nvPr/>
          </p:nvSpPr>
          <p:spPr>
            <a:xfrm>
              <a:off x="2122814" y="451159"/>
              <a:ext cx="1005840" cy="294774"/>
            </a:xfrm>
            <a:prstGeom prst="roundRect">
              <a:avLst/>
            </a:prstGeom>
            <a:solidFill>
              <a:srgbClr val="B2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Business Applications</a:t>
              </a:r>
            </a:p>
          </p:txBody>
        </p:sp>
        <p:sp>
          <p:nvSpPr>
            <p:cNvPr id="110" name="Rounded Rectangle 109"/>
            <p:cNvSpPr/>
            <p:nvPr/>
          </p:nvSpPr>
          <p:spPr>
            <a:xfrm>
              <a:off x="2122814" y="818149"/>
              <a:ext cx="1005840" cy="294774"/>
            </a:xfrm>
            <a:prstGeom prst="roundRect">
              <a:avLst/>
            </a:prstGeom>
            <a:solidFill>
              <a:srgbClr val="B2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evOps Tools</a:t>
              </a:r>
            </a:p>
          </p:txBody>
        </p:sp>
        <p:sp>
          <p:nvSpPr>
            <p:cNvPr id="109" name="Rounded Rectangle 108"/>
            <p:cNvSpPr/>
            <p:nvPr/>
          </p:nvSpPr>
          <p:spPr>
            <a:xfrm>
              <a:off x="2122814" y="1185139"/>
              <a:ext cx="1005840" cy="294774"/>
            </a:xfrm>
            <a:prstGeom prst="roundRect">
              <a:avLst/>
            </a:prstGeom>
            <a:solidFill>
              <a:srgbClr val="B2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Business Intelligence</a:t>
              </a:r>
            </a:p>
          </p:txBody>
        </p:sp>
        <p:sp>
          <p:nvSpPr>
            <p:cNvPr id="111" name="Rounded Rectangle 110"/>
            <p:cNvSpPr/>
            <p:nvPr/>
          </p:nvSpPr>
          <p:spPr>
            <a:xfrm>
              <a:off x="2122814" y="1552129"/>
              <a:ext cx="1005840" cy="294774"/>
            </a:xfrm>
            <a:prstGeom prst="roundRect">
              <a:avLst/>
            </a:prstGeom>
            <a:solidFill>
              <a:srgbClr val="B2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ecurity</a:t>
              </a:r>
            </a:p>
          </p:txBody>
        </p:sp>
        <p:sp>
          <p:nvSpPr>
            <p:cNvPr id="112" name="Rounded Rectangle 111"/>
            <p:cNvSpPr/>
            <p:nvPr/>
          </p:nvSpPr>
          <p:spPr>
            <a:xfrm>
              <a:off x="2122814" y="1919119"/>
              <a:ext cx="1005840" cy="294774"/>
            </a:xfrm>
            <a:prstGeom prst="roundRect">
              <a:avLst/>
            </a:prstGeom>
            <a:solidFill>
              <a:srgbClr val="B2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Networking</a:t>
              </a:r>
            </a:p>
          </p:txBody>
        </p:sp>
        <p:sp>
          <p:nvSpPr>
            <p:cNvPr id="113" name="Rounded Rectangle 112"/>
            <p:cNvSpPr/>
            <p:nvPr/>
          </p:nvSpPr>
          <p:spPr>
            <a:xfrm>
              <a:off x="2122814" y="2286109"/>
              <a:ext cx="1005840" cy="294774"/>
            </a:xfrm>
            <a:prstGeom prst="roundRect">
              <a:avLst/>
            </a:prstGeom>
            <a:solidFill>
              <a:srgbClr val="B2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atabase &amp; Storage</a:t>
              </a:r>
            </a:p>
          </p:txBody>
        </p:sp>
        <p:sp>
          <p:nvSpPr>
            <p:cNvPr id="116" name="Rounded Rectangle 115"/>
            <p:cNvSpPr/>
            <p:nvPr/>
          </p:nvSpPr>
          <p:spPr>
            <a:xfrm>
              <a:off x="2122814" y="2653099"/>
              <a:ext cx="1005840" cy="294774"/>
            </a:xfrm>
            <a:prstGeom prst="roundRect">
              <a:avLst/>
            </a:prstGeom>
            <a:solidFill>
              <a:srgbClr val="B2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aaS Subscriptions</a:t>
              </a:r>
            </a:p>
          </p:txBody>
        </p:sp>
        <p:sp>
          <p:nvSpPr>
            <p:cNvPr id="115" name="Rounded Rectangle 114"/>
            <p:cNvSpPr/>
            <p:nvPr/>
          </p:nvSpPr>
          <p:spPr>
            <a:xfrm>
              <a:off x="2122814" y="3020088"/>
              <a:ext cx="1005840" cy="294774"/>
            </a:xfrm>
            <a:prstGeom prst="roundRect">
              <a:avLst/>
            </a:prstGeom>
            <a:solidFill>
              <a:srgbClr val="B2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Operating Systems</a:t>
              </a: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8668676" y="194066"/>
            <a:ext cx="1042416" cy="3152158"/>
            <a:chOff x="8668763" y="194066"/>
            <a:chExt cx="1042416" cy="3152158"/>
          </a:xfrm>
        </p:grpSpPr>
        <p:sp>
          <p:nvSpPr>
            <p:cNvPr id="163" name="Rounded Rectangle 162"/>
            <p:cNvSpPr/>
            <p:nvPr/>
          </p:nvSpPr>
          <p:spPr>
            <a:xfrm>
              <a:off x="8668763" y="194066"/>
              <a:ext cx="1042416" cy="3152158"/>
            </a:xfrm>
            <a:prstGeom prst="roundRect">
              <a:avLst>
                <a:gd name="adj" fmla="val 8232"/>
              </a:avLst>
            </a:prstGeom>
            <a:solidFill>
              <a:srgbClr val="6B9E43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Mobile</a:t>
              </a:r>
            </a:p>
          </p:txBody>
        </p:sp>
        <p:sp>
          <p:nvSpPr>
            <p:cNvPr id="141" name="Rounded Rectangle 140"/>
            <p:cNvSpPr/>
            <p:nvPr/>
          </p:nvSpPr>
          <p:spPr>
            <a:xfrm>
              <a:off x="8687051" y="1552129"/>
              <a:ext cx="1005840" cy="294774"/>
            </a:xfrm>
            <a:prstGeom prst="roundRect">
              <a:avLst/>
            </a:prstGeom>
            <a:solidFill>
              <a:srgbClr val="6B9E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Build, Test, Monitor Apps</a:t>
              </a: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8687051" y="1919119"/>
              <a:ext cx="1005840" cy="294774"/>
            </a:xfrm>
            <a:prstGeom prst="roundRect">
              <a:avLst/>
            </a:prstGeom>
            <a:solidFill>
              <a:srgbClr val="6B9E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Push Notifications</a:t>
              </a:r>
            </a:p>
          </p:txBody>
        </p:sp>
        <p:sp>
          <p:nvSpPr>
            <p:cNvPr id="145" name="Rounded Rectangle 144"/>
            <p:cNvSpPr/>
            <p:nvPr/>
          </p:nvSpPr>
          <p:spPr>
            <a:xfrm>
              <a:off x="8687051" y="2286109"/>
              <a:ext cx="1005840" cy="294774"/>
            </a:xfrm>
            <a:prstGeom prst="roundRect">
              <a:avLst/>
            </a:prstGeom>
            <a:solidFill>
              <a:srgbClr val="6B9E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Build, Deploy, Manage APIs</a:t>
              </a:r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8687051" y="2653099"/>
              <a:ext cx="1005840" cy="294774"/>
            </a:xfrm>
            <a:prstGeom prst="roundRect">
              <a:avLst/>
            </a:prstGeom>
            <a:solidFill>
              <a:srgbClr val="6B9E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evice Testing</a:t>
              </a:r>
            </a:p>
          </p:txBody>
        </p:sp>
        <p:sp>
          <p:nvSpPr>
            <p:cNvPr id="144" name="Rounded Rectangle 143"/>
            <p:cNvSpPr/>
            <p:nvPr/>
          </p:nvSpPr>
          <p:spPr>
            <a:xfrm>
              <a:off x="8687051" y="3020088"/>
              <a:ext cx="1005840" cy="294774"/>
            </a:xfrm>
            <a:prstGeom prst="roundRect">
              <a:avLst/>
            </a:prstGeom>
            <a:solidFill>
              <a:srgbClr val="6B9E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Identity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9762701" y="194066"/>
            <a:ext cx="1042416" cy="3152158"/>
            <a:chOff x="9762698" y="194066"/>
            <a:chExt cx="1042416" cy="3152158"/>
          </a:xfrm>
        </p:grpSpPr>
        <p:sp>
          <p:nvSpPr>
            <p:cNvPr id="164" name="Rounded Rectangle 163"/>
            <p:cNvSpPr/>
            <p:nvPr/>
          </p:nvSpPr>
          <p:spPr>
            <a:xfrm>
              <a:off x="9762698" y="194066"/>
              <a:ext cx="1042416" cy="3152158"/>
            </a:xfrm>
            <a:prstGeom prst="roundRect">
              <a:avLst>
                <a:gd name="adj" fmla="val 8232"/>
              </a:avLst>
            </a:prstGeom>
            <a:solidFill>
              <a:srgbClr val="E07979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Enterprise Applications</a:t>
              </a:r>
            </a:p>
          </p:txBody>
        </p:sp>
        <p:sp>
          <p:nvSpPr>
            <p:cNvPr id="151" name="Rounded Rectangle 150"/>
            <p:cNvSpPr/>
            <p:nvPr/>
          </p:nvSpPr>
          <p:spPr>
            <a:xfrm>
              <a:off x="9780986" y="1552129"/>
              <a:ext cx="1005840" cy="294774"/>
            </a:xfrm>
            <a:prstGeom prst="roundRect">
              <a:avLst/>
            </a:prstGeom>
            <a:solidFill>
              <a:srgbClr val="E079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ocument Sharing</a:t>
              </a:r>
            </a:p>
          </p:txBody>
        </p:sp>
        <p:sp>
          <p:nvSpPr>
            <p:cNvPr id="152" name="Rounded Rectangle 151"/>
            <p:cNvSpPr/>
            <p:nvPr/>
          </p:nvSpPr>
          <p:spPr>
            <a:xfrm>
              <a:off x="9780986" y="1919119"/>
              <a:ext cx="1005840" cy="294774"/>
            </a:xfrm>
            <a:prstGeom prst="roundRect">
              <a:avLst/>
            </a:prstGeom>
            <a:solidFill>
              <a:srgbClr val="E079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Email &amp; Calendaring</a:t>
              </a:r>
            </a:p>
          </p:txBody>
        </p:sp>
        <p:sp>
          <p:nvSpPr>
            <p:cNvPr id="153" name="Rounded Rectangle 152"/>
            <p:cNvSpPr/>
            <p:nvPr/>
          </p:nvSpPr>
          <p:spPr>
            <a:xfrm>
              <a:off x="9780986" y="2286109"/>
              <a:ext cx="1005840" cy="294774"/>
            </a:xfrm>
            <a:prstGeom prst="roundRect">
              <a:avLst/>
            </a:prstGeom>
            <a:solidFill>
              <a:srgbClr val="E079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Hosted Desktops</a:t>
              </a:r>
            </a:p>
          </p:txBody>
        </p:sp>
        <p:sp>
          <p:nvSpPr>
            <p:cNvPr id="154" name="Rounded Rectangle 153"/>
            <p:cNvSpPr/>
            <p:nvPr/>
          </p:nvSpPr>
          <p:spPr>
            <a:xfrm>
              <a:off x="9780986" y="2653099"/>
              <a:ext cx="1005840" cy="294774"/>
            </a:xfrm>
            <a:prstGeom prst="roundRect">
              <a:avLst/>
            </a:prstGeom>
            <a:solidFill>
              <a:srgbClr val="E079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pplication Streaming</a:t>
              </a:r>
            </a:p>
          </p:txBody>
        </p:sp>
        <p:sp>
          <p:nvSpPr>
            <p:cNvPr id="155" name="Rounded Rectangle 154"/>
            <p:cNvSpPr/>
            <p:nvPr/>
          </p:nvSpPr>
          <p:spPr>
            <a:xfrm>
              <a:off x="9780986" y="3020088"/>
              <a:ext cx="1005840" cy="294774"/>
            </a:xfrm>
            <a:prstGeom prst="roundRect">
              <a:avLst/>
            </a:prstGeom>
            <a:solidFill>
              <a:srgbClr val="E079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Backup</a:t>
              </a: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10856725" y="194066"/>
            <a:ext cx="1042416" cy="3152158"/>
            <a:chOff x="10856725" y="200896"/>
            <a:chExt cx="1042416" cy="3152158"/>
          </a:xfrm>
        </p:grpSpPr>
        <p:sp>
          <p:nvSpPr>
            <p:cNvPr id="165" name="Rounded Rectangle 164"/>
            <p:cNvSpPr/>
            <p:nvPr/>
          </p:nvSpPr>
          <p:spPr>
            <a:xfrm>
              <a:off x="10856725" y="200896"/>
              <a:ext cx="1042416" cy="3152158"/>
            </a:xfrm>
            <a:prstGeom prst="roundRect">
              <a:avLst>
                <a:gd name="adj" fmla="val 8232"/>
              </a:avLst>
            </a:prstGeom>
            <a:solidFill>
              <a:srgbClr val="FDB833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Game Development</a:t>
              </a:r>
            </a:p>
          </p:txBody>
        </p:sp>
        <p:sp>
          <p:nvSpPr>
            <p:cNvPr id="156" name="Rounded Rectangle 155"/>
            <p:cNvSpPr/>
            <p:nvPr/>
          </p:nvSpPr>
          <p:spPr>
            <a:xfrm>
              <a:off x="10875013" y="2653099"/>
              <a:ext cx="1005840" cy="294774"/>
            </a:xfrm>
            <a:prstGeom prst="roundRect">
              <a:avLst/>
            </a:prstGeom>
            <a:solidFill>
              <a:srgbClr val="FDB8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3D Game Engine</a:t>
              </a:r>
            </a:p>
          </p:txBody>
        </p:sp>
        <p:sp>
          <p:nvSpPr>
            <p:cNvPr id="157" name="Rounded Rectangle 156"/>
            <p:cNvSpPr/>
            <p:nvPr/>
          </p:nvSpPr>
          <p:spPr>
            <a:xfrm>
              <a:off x="10875013" y="3020088"/>
              <a:ext cx="1005840" cy="294774"/>
            </a:xfrm>
            <a:prstGeom prst="roundRect">
              <a:avLst/>
            </a:prstGeom>
            <a:solidFill>
              <a:srgbClr val="FDB8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Multi-player </a:t>
              </a:r>
              <a:r>
                <a:rPr lang="en-US" sz="1000" dirty="0" err="1">
                  <a:solidFill>
                    <a:prstClr val="black"/>
                  </a:solidFill>
                  <a:latin typeface="Calibri"/>
                </a:rPr>
                <a:t>Backends</a:t>
              </a:r>
              <a:endParaRPr lang="en-US" sz="1000" dirty="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181" name="Straight Connector 180"/>
          <p:cNvCxnSpPr/>
          <p:nvPr/>
        </p:nvCxnSpPr>
        <p:spPr>
          <a:xfrm>
            <a:off x="1715682" y="228600"/>
            <a:ext cx="0" cy="640080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3198551" y="194066"/>
            <a:ext cx="1042416" cy="3152158"/>
            <a:chOff x="3198507" y="200896"/>
            <a:chExt cx="1042416" cy="3152158"/>
          </a:xfrm>
        </p:grpSpPr>
        <p:sp>
          <p:nvSpPr>
            <p:cNvPr id="158" name="Rounded Rectangle 157"/>
            <p:cNvSpPr/>
            <p:nvPr/>
          </p:nvSpPr>
          <p:spPr>
            <a:xfrm>
              <a:off x="3198507" y="200896"/>
              <a:ext cx="1042416" cy="3152158"/>
            </a:xfrm>
            <a:prstGeom prst="roundRect">
              <a:avLst>
                <a:gd name="adj" fmla="val 8232"/>
              </a:avLst>
            </a:prstGeom>
            <a:solidFill>
              <a:srgbClr val="119DA4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Mgmt. Tools</a:t>
              </a:r>
            </a:p>
          </p:txBody>
        </p:sp>
        <p:sp>
          <p:nvSpPr>
            <p:cNvPr id="117" name="Rounded Rectangle 116"/>
            <p:cNvSpPr/>
            <p:nvPr/>
          </p:nvSpPr>
          <p:spPr>
            <a:xfrm>
              <a:off x="3216795" y="451159"/>
              <a:ext cx="1005840" cy="294774"/>
            </a:xfrm>
            <a:prstGeom prst="roundRect">
              <a:avLst/>
            </a:prstGeom>
            <a:solidFill>
              <a:srgbClr val="119D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Monitoring</a:t>
              </a:r>
            </a:p>
          </p:txBody>
        </p:sp>
        <p:sp>
          <p:nvSpPr>
            <p:cNvPr id="118" name="Rounded Rectangle 117"/>
            <p:cNvSpPr/>
            <p:nvPr/>
          </p:nvSpPr>
          <p:spPr>
            <a:xfrm>
              <a:off x="3216795" y="818149"/>
              <a:ext cx="1005840" cy="294774"/>
            </a:xfrm>
            <a:prstGeom prst="roundRect">
              <a:avLst/>
            </a:prstGeom>
            <a:solidFill>
              <a:srgbClr val="119D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uditing</a:t>
              </a:r>
            </a:p>
          </p:txBody>
        </p:sp>
        <p:sp>
          <p:nvSpPr>
            <p:cNvPr id="120" name="Rounded Rectangle 119"/>
            <p:cNvSpPr/>
            <p:nvPr/>
          </p:nvSpPr>
          <p:spPr>
            <a:xfrm>
              <a:off x="3216795" y="1185139"/>
              <a:ext cx="1005840" cy="294774"/>
            </a:xfrm>
            <a:prstGeom prst="roundRect">
              <a:avLst/>
            </a:prstGeom>
            <a:solidFill>
              <a:srgbClr val="119D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ervice Catalog</a:t>
              </a:r>
            </a:p>
          </p:txBody>
        </p:sp>
        <p:sp>
          <p:nvSpPr>
            <p:cNvPr id="119" name="Rounded Rectangle 118"/>
            <p:cNvSpPr/>
            <p:nvPr/>
          </p:nvSpPr>
          <p:spPr>
            <a:xfrm>
              <a:off x="3216795" y="1552129"/>
              <a:ext cx="1005840" cy="294774"/>
            </a:xfrm>
            <a:prstGeom prst="roundRect">
              <a:avLst/>
            </a:prstGeom>
            <a:solidFill>
              <a:srgbClr val="119D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erver Management</a:t>
              </a:r>
            </a:p>
          </p:txBody>
        </p:sp>
        <p:sp>
          <p:nvSpPr>
            <p:cNvPr id="121" name="Rounded Rectangle 120"/>
            <p:cNvSpPr/>
            <p:nvPr/>
          </p:nvSpPr>
          <p:spPr>
            <a:xfrm>
              <a:off x="3216795" y="1919119"/>
              <a:ext cx="1005840" cy="294774"/>
            </a:xfrm>
            <a:prstGeom prst="roundRect">
              <a:avLst/>
            </a:prstGeom>
            <a:solidFill>
              <a:srgbClr val="119D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Configuration Tracking</a:t>
              </a:r>
            </a:p>
          </p:txBody>
        </p:sp>
        <p:sp>
          <p:nvSpPr>
            <p:cNvPr id="122" name="Rounded Rectangle 121"/>
            <p:cNvSpPr/>
            <p:nvPr/>
          </p:nvSpPr>
          <p:spPr>
            <a:xfrm>
              <a:off x="3216795" y="2286109"/>
              <a:ext cx="1005840" cy="294774"/>
            </a:xfrm>
            <a:prstGeom prst="roundRect">
              <a:avLst/>
            </a:prstGeom>
            <a:solidFill>
              <a:srgbClr val="119D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Optimization</a:t>
              </a:r>
            </a:p>
          </p:txBody>
        </p:sp>
        <p:sp>
          <p:nvSpPr>
            <p:cNvPr id="123" name="Rounded Rectangle 122"/>
            <p:cNvSpPr/>
            <p:nvPr/>
          </p:nvSpPr>
          <p:spPr>
            <a:xfrm>
              <a:off x="3216795" y="2653099"/>
              <a:ext cx="1005840" cy="294774"/>
            </a:xfrm>
            <a:prstGeom prst="roundRect">
              <a:avLst/>
            </a:prstGeom>
            <a:solidFill>
              <a:srgbClr val="119D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Resource Templates</a:t>
              </a:r>
            </a:p>
          </p:txBody>
        </p:sp>
        <p:sp>
          <p:nvSpPr>
            <p:cNvPr id="124" name="Rounded Rectangle 123"/>
            <p:cNvSpPr/>
            <p:nvPr/>
          </p:nvSpPr>
          <p:spPr>
            <a:xfrm>
              <a:off x="3216795" y="3020088"/>
              <a:ext cx="1005840" cy="294774"/>
            </a:xfrm>
            <a:prstGeom prst="roundRect">
              <a:avLst/>
            </a:prstGeom>
            <a:solidFill>
              <a:srgbClr val="119D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utomation</a:t>
              </a: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4292576" y="194066"/>
            <a:ext cx="1042416" cy="3152158"/>
            <a:chOff x="4293008" y="200896"/>
            <a:chExt cx="1042416" cy="3152158"/>
          </a:xfrm>
        </p:grpSpPr>
        <p:sp>
          <p:nvSpPr>
            <p:cNvPr id="159" name="Rounded Rectangle 158"/>
            <p:cNvSpPr/>
            <p:nvPr/>
          </p:nvSpPr>
          <p:spPr>
            <a:xfrm>
              <a:off x="4293008" y="200896"/>
              <a:ext cx="1042416" cy="3152158"/>
            </a:xfrm>
            <a:prstGeom prst="roundRect">
              <a:avLst>
                <a:gd name="adj" fmla="val 8232"/>
              </a:avLst>
            </a:prstGeom>
            <a:solidFill>
              <a:srgbClr val="FFD966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Analytics</a:t>
              </a:r>
            </a:p>
          </p:txBody>
        </p:sp>
        <p:sp>
          <p:nvSpPr>
            <p:cNvPr id="125" name="Rounded Rectangle 124"/>
            <p:cNvSpPr/>
            <p:nvPr/>
          </p:nvSpPr>
          <p:spPr>
            <a:xfrm>
              <a:off x="4311296" y="451159"/>
              <a:ext cx="1005840" cy="2947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Query Large Data Sets</a:t>
              </a:r>
            </a:p>
          </p:txBody>
        </p:sp>
        <p:sp>
          <p:nvSpPr>
            <p:cNvPr id="126" name="Rounded Rectangle 125"/>
            <p:cNvSpPr/>
            <p:nvPr/>
          </p:nvSpPr>
          <p:spPr>
            <a:xfrm>
              <a:off x="4311296" y="818149"/>
              <a:ext cx="1005840" cy="2947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Elastic Search &amp; </a:t>
              </a:r>
              <a:r>
                <a:rPr lang="en-US" sz="1000" dirty="0" err="1" smtClean="0">
                  <a:solidFill>
                    <a:prstClr val="black"/>
                  </a:solidFill>
                  <a:latin typeface="Calibri"/>
                </a:rPr>
                <a:t>Kibana</a:t>
              </a:r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 stack </a:t>
              </a:r>
              <a:endParaRPr lang="en-US" sz="1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8" name="Rounded Rectangle 127"/>
            <p:cNvSpPr/>
            <p:nvPr/>
          </p:nvSpPr>
          <p:spPr>
            <a:xfrm>
              <a:off x="4311296" y="1185139"/>
              <a:ext cx="1005840" cy="2947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Business Analytics</a:t>
              </a:r>
            </a:p>
          </p:txBody>
        </p:sp>
        <p:sp>
          <p:nvSpPr>
            <p:cNvPr id="127" name="Rounded Rectangle 126"/>
            <p:cNvSpPr/>
            <p:nvPr/>
          </p:nvSpPr>
          <p:spPr>
            <a:xfrm>
              <a:off x="4311296" y="1552129"/>
              <a:ext cx="1005840" cy="2947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Hadoop/Spark</a:t>
              </a:r>
            </a:p>
          </p:txBody>
        </p:sp>
        <p:sp>
          <p:nvSpPr>
            <p:cNvPr id="129" name="Rounded Rectangle 128"/>
            <p:cNvSpPr/>
            <p:nvPr/>
          </p:nvSpPr>
          <p:spPr>
            <a:xfrm>
              <a:off x="4311296" y="1919119"/>
              <a:ext cx="1005840" cy="2947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Real-time Data Streaming</a:t>
              </a:r>
            </a:p>
          </p:txBody>
        </p:sp>
        <p:sp>
          <p:nvSpPr>
            <p:cNvPr id="130" name="Rounded Rectangle 129"/>
            <p:cNvSpPr/>
            <p:nvPr/>
          </p:nvSpPr>
          <p:spPr>
            <a:xfrm>
              <a:off x="4311296" y="2286109"/>
              <a:ext cx="1005840" cy="2947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Analytics Reports </a:t>
              </a:r>
              <a:endParaRPr lang="en-US" sz="1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1" name="Rounded Rectangle 130"/>
            <p:cNvSpPr/>
            <p:nvPr/>
          </p:nvSpPr>
          <p:spPr>
            <a:xfrm>
              <a:off x="4311296" y="2653099"/>
              <a:ext cx="1005840" cy="2947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Managed Search</a:t>
              </a:r>
            </a:p>
          </p:txBody>
        </p:sp>
        <p:sp>
          <p:nvSpPr>
            <p:cNvPr id="132" name="Rounded Rectangle 131"/>
            <p:cNvSpPr/>
            <p:nvPr/>
          </p:nvSpPr>
          <p:spPr>
            <a:xfrm>
              <a:off x="4311296" y="3020088"/>
              <a:ext cx="1005840" cy="29477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Managed ETL</a:t>
              </a: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6480626" y="194066"/>
            <a:ext cx="1042416" cy="3152158"/>
            <a:chOff x="6480878" y="200896"/>
            <a:chExt cx="1042416" cy="3152158"/>
          </a:xfrm>
        </p:grpSpPr>
        <p:sp>
          <p:nvSpPr>
            <p:cNvPr id="161" name="Rounded Rectangle 160"/>
            <p:cNvSpPr/>
            <p:nvPr/>
          </p:nvSpPr>
          <p:spPr>
            <a:xfrm>
              <a:off x="6480878" y="200896"/>
              <a:ext cx="1042416" cy="3152158"/>
            </a:xfrm>
            <a:prstGeom prst="roundRect">
              <a:avLst>
                <a:gd name="adj" fmla="val 8232"/>
              </a:avLst>
            </a:prstGeom>
            <a:solidFill>
              <a:srgbClr val="92DB51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Artificial Intelligence</a:t>
              </a:r>
            </a:p>
          </p:txBody>
        </p:sp>
        <p:sp>
          <p:nvSpPr>
            <p:cNvPr id="137" name="Rounded Rectangle 136"/>
            <p:cNvSpPr/>
            <p:nvPr/>
          </p:nvSpPr>
          <p:spPr>
            <a:xfrm>
              <a:off x="6499166" y="1919119"/>
              <a:ext cx="1005840" cy="294774"/>
            </a:xfrm>
            <a:prstGeom prst="roundRect">
              <a:avLst/>
            </a:prstGeom>
            <a:solidFill>
              <a:srgbClr val="92DB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Voice &amp; Text </a:t>
              </a:r>
              <a:r>
                <a:rPr lang="en-US" sz="1000" dirty="0" err="1">
                  <a:solidFill>
                    <a:prstClr val="black"/>
                  </a:solidFill>
                  <a:latin typeface="Calibri"/>
                </a:rPr>
                <a:t>Chatbots</a:t>
              </a:r>
              <a:endParaRPr lang="en-US" sz="1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8" name="Rounded Rectangle 137"/>
            <p:cNvSpPr/>
            <p:nvPr/>
          </p:nvSpPr>
          <p:spPr>
            <a:xfrm>
              <a:off x="6499166" y="2286109"/>
              <a:ext cx="1005840" cy="294774"/>
            </a:xfrm>
            <a:prstGeom prst="roundRect">
              <a:avLst/>
            </a:prstGeom>
            <a:solidFill>
              <a:srgbClr val="92DB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Machine Learning</a:t>
              </a: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6499166" y="2653099"/>
              <a:ext cx="1005840" cy="294774"/>
            </a:xfrm>
            <a:prstGeom prst="roundRect">
              <a:avLst/>
            </a:prstGeom>
            <a:solidFill>
              <a:srgbClr val="92DB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Text-to-Speech</a:t>
              </a:r>
            </a:p>
          </p:txBody>
        </p:sp>
        <p:sp>
          <p:nvSpPr>
            <p:cNvPr id="139" name="Rounded Rectangle 138"/>
            <p:cNvSpPr/>
            <p:nvPr/>
          </p:nvSpPr>
          <p:spPr>
            <a:xfrm>
              <a:off x="6499166" y="3020088"/>
              <a:ext cx="1005840" cy="294774"/>
            </a:xfrm>
            <a:prstGeom prst="roundRect">
              <a:avLst/>
            </a:prstGeom>
            <a:solidFill>
              <a:srgbClr val="92DB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Image Analysis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7574651" y="194066"/>
            <a:ext cx="1042416" cy="3152158"/>
            <a:chOff x="7565110" y="200896"/>
            <a:chExt cx="1042416" cy="3152158"/>
          </a:xfrm>
        </p:grpSpPr>
        <p:sp>
          <p:nvSpPr>
            <p:cNvPr id="162" name="Rounded Rectangle 161"/>
            <p:cNvSpPr/>
            <p:nvPr/>
          </p:nvSpPr>
          <p:spPr>
            <a:xfrm>
              <a:off x="7565110" y="200896"/>
              <a:ext cx="1042416" cy="3152158"/>
            </a:xfrm>
            <a:prstGeom prst="roundRect">
              <a:avLst>
                <a:gd name="adj" fmla="val 8232"/>
              </a:avLst>
            </a:prstGeom>
            <a:solidFill>
              <a:srgbClr val="CC3399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IoT</a:t>
              </a:r>
            </a:p>
          </p:txBody>
        </p:sp>
        <p:sp>
          <p:nvSpPr>
            <p:cNvPr id="146" name="Rounded Rectangle 145"/>
            <p:cNvSpPr/>
            <p:nvPr/>
          </p:nvSpPr>
          <p:spPr>
            <a:xfrm>
              <a:off x="7583398" y="1552129"/>
              <a:ext cx="1005840" cy="294774"/>
            </a:xfrm>
            <a:prstGeom prst="roundRect">
              <a:avLst/>
            </a:prstGeom>
            <a:solidFill>
              <a:srgbClr val="CC3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Rules Engine</a:t>
              </a:r>
            </a:p>
          </p:txBody>
        </p:sp>
        <p:sp>
          <p:nvSpPr>
            <p:cNvPr id="147" name="Rounded Rectangle 146"/>
            <p:cNvSpPr/>
            <p:nvPr/>
          </p:nvSpPr>
          <p:spPr>
            <a:xfrm>
              <a:off x="7583398" y="1919119"/>
              <a:ext cx="1005840" cy="294774"/>
            </a:xfrm>
            <a:prstGeom prst="roundRect">
              <a:avLst/>
            </a:prstGeom>
            <a:solidFill>
              <a:srgbClr val="CC3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Local Compute and Sync</a:t>
              </a:r>
            </a:p>
          </p:txBody>
        </p:sp>
        <p:sp>
          <p:nvSpPr>
            <p:cNvPr id="148" name="Rounded Rectangle 147"/>
            <p:cNvSpPr/>
            <p:nvPr/>
          </p:nvSpPr>
          <p:spPr>
            <a:xfrm>
              <a:off x="7583398" y="2286109"/>
              <a:ext cx="1005840" cy="294774"/>
            </a:xfrm>
            <a:prstGeom prst="roundRect">
              <a:avLst/>
            </a:prstGeom>
            <a:solidFill>
              <a:srgbClr val="CC3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evice Shadows</a:t>
              </a:r>
            </a:p>
          </p:txBody>
        </p:sp>
        <p:sp>
          <p:nvSpPr>
            <p:cNvPr id="149" name="Rounded Rectangle 148"/>
            <p:cNvSpPr/>
            <p:nvPr/>
          </p:nvSpPr>
          <p:spPr>
            <a:xfrm>
              <a:off x="7583398" y="2653099"/>
              <a:ext cx="1005840" cy="294774"/>
            </a:xfrm>
            <a:prstGeom prst="roundRect">
              <a:avLst/>
            </a:prstGeom>
            <a:solidFill>
              <a:srgbClr val="CC3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evice Gateway</a:t>
              </a:r>
            </a:p>
          </p:txBody>
        </p:sp>
        <p:sp>
          <p:nvSpPr>
            <p:cNvPr id="150" name="Rounded Rectangle 149"/>
            <p:cNvSpPr/>
            <p:nvPr/>
          </p:nvSpPr>
          <p:spPr>
            <a:xfrm>
              <a:off x="7583398" y="3020088"/>
              <a:ext cx="1005840" cy="294774"/>
            </a:xfrm>
            <a:prstGeom prst="roundRect">
              <a:avLst/>
            </a:prstGeom>
            <a:solidFill>
              <a:srgbClr val="CC3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Registry</a:t>
              </a:r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1996104" y="3843879"/>
            <a:ext cx="9891093" cy="329184"/>
            <a:chOff x="1996104" y="3823559"/>
            <a:chExt cx="9891093" cy="329184"/>
          </a:xfrm>
        </p:grpSpPr>
        <p:sp>
          <p:nvSpPr>
            <p:cNvPr id="185" name="Rounded Rectangle 184"/>
            <p:cNvSpPr/>
            <p:nvPr/>
          </p:nvSpPr>
          <p:spPr>
            <a:xfrm>
              <a:off x="1996104" y="3823559"/>
              <a:ext cx="9891093" cy="329184"/>
            </a:xfrm>
            <a:prstGeom prst="roundRect">
              <a:avLst/>
            </a:prstGeom>
            <a:solidFill>
              <a:srgbClr val="D8DDEF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Hybrid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8684210" y="3840764"/>
              <a:ext cx="1005840" cy="294774"/>
            </a:xfrm>
            <a:prstGeom prst="roundRect">
              <a:avLst/>
            </a:prstGeom>
            <a:solidFill>
              <a:srgbClr val="D8DD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Devices &amp; Edge Systems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3214085" y="3840764"/>
              <a:ext cx="1005840" cy="294774"/>
            </a:xfrm>
            <a:prstGeom prst="roundRect">
              <a:avLst/>
            </a:prstGeom>
            <a:solidFill>
              <a:srgbClr val="D8DD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Data Integration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4308110" y="3840764"/>
              <a:ext cx="1005840" cy="294774"/>
            </a:xfrm>
            <a:prstGeom prst="roundRect">
              <a:avLst/>
            </a:prstGeom>
            <a:solidFill>
              <a:srgbClr val="D8DD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Integrated Networking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6496160" y="3840764"/>
              <a:ext cx="1005840" cy="294774"/>
            </a:xfrm>
            <a:prstGeom prst="roundRect">
              <a:avLst/>
            </a:prstGeom>
            <a:solidFill>
              <a:srgbClr val="D8DD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Resource Management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590185" y="3840764"/>
              <a:ext cx="1005840" cy="294774"/>
            </a:xfrm>
            <a:prstGeom prst="roundRect">
              <a:avLst/>
            </a:prstGeom>
            <a:solidFill>
              <a:srgbClr val="D8DD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VMware on AWS</a:t>
              </a: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5402135" y="3840764"/>
              <a:ext cx="1005840" cy="294774"/>
            </a:xfrm>
            <a:prstGeom prst="roundRect">
              <a:avLst/>
            </a:prstGeom>
            <a:solidFill>
              <a:srgbClr val="D8DD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Identity Federation</a:t>
              </a: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1996104" y="3491047"/>
            <a:ext cx="9891093" cy="329184"/>
            <a:chOff x="2008048" y="3457182"/>
            <a:chExt cx="9891093" cy="329184"/>
          </a:xfrm>
        </p:grpSpPr>
        <p:sp>
          <p:nvSpPr>
            <p:cNvPr id="167" name="Rounded Rectangle 166"/>
            <p:cNvSpPr/>
            <p:nvPr/>
          </p:nvSpPr>
          <p:spPr>
            <a:xfrm>
              <a:off x="2008048" y="3457182"/>
              <a:ext cx="9891093" cy="329184"/>
            </a:xfrm>
            <a:prstGeom prst="roundRect">
              <a:avLst/>
            </a:prstGeom>
            <a:solidFill>
              <a:srgbClr val="5C0029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Migration</a:t>
              </a: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3216839" y="3474387"/>
              <a:ext cx="1005840" cy="294774"/>
            </a:xfrm>
            <a:prstGeom prst="roundRect">
              <a:avLst/>
            </a:prstGeom>
            <a:solidFill>
              <a:srgbClr val="5C0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pplication Discovery</a:t>
              </a: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4310864" y="3474387"/>
              <a:ext cx="1005840" cy="294774"/>
            </a:xfrm>
            <a:prstGeom prst="roundRect">
              <a:avLst/>
            </a:prstGeom>
            <a:solidFill>
              <a:srgbClr val="5C0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pplication Migration</a:t>
              </a: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6498914" y="3474387"/>
              <a:ext cx="1005840" cy="294774"/>
            </a:xfrm>
            <a:prstGeom prst="roundRect">
              <a:avLst/>
            </a:prstGeom>
            <a:solidFill>
              <a:srgbClr val="5C0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atabase Migration</a:t>
              </a: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7592939" y="3474387"/>
              <a:ext cx="1005840" cy="294774"/>
            </a:xfrm>
            <a:prstGeom prst="roundRect">
              <a:avLst/>
            </a:prstGeom>
            <a:solidFill>
              <a:srgbClr val="5C0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erver Migration</a:t>
              </a: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5404889" y="3474387"/>
              <a:ext cx="1005840" cy="294774"/>
            </a:xfrm>
            <a:prstGeom prst="roundRect">
              <a:avLst/>
            </a:prstGeom>
            <a:solidFill>
              <a:srgbClr val="5C0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ata Migration</a:t>
              </a: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1996104" y="6447807"/>
            <a:ext cx="9903038" cy="329184"/>
            <a:chOff x="1996104" y="6447807"/>
            <a:chExt cx="9903038" cy="329184"/>
          </a:xfrm>
        </p:grpSpPr>
        <p:sp>
          <p:nvSpPr>
            <p:cNvPr id="174" name="Rounded Rectangle 173"/>
            <p:cNvSpPr/>
            <p:nvPr/>
          </p:nvSpPr>
          <p:spPr>
            <a:xfrm>
              <a:off x="1996104" y="6447807"/>
              <a:ext cx="9903038" cy="329184"/>
            </a:xfrm>
            <a:prstGeom prst="roundRect">
              <a:avLst/>
            </a:prstGeom>
            <a:solidFill>
              <a:srgbClr val="C0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Infrastructure</a:t>
              </a: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3216839" y="6465012"/>
              <a:ext cx="1005840" cy="294774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Regions</a:t>
              </a: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4310864" y="6465012"/>
              <a:ext cx="1005840" cy="294774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vailability Zones</a:t>
              </a: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5404889" y="6465012"/>
              <a:ext cx="1005840" cy="294774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Points of Presence</a:t>
              </a: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1996104" y="5738421"/>
            <a:ext cx="9903038" cy="329184"/>
            <a:chOff x="2007910" y="5715402"/>
            <a:chExt cx="9903038" cy="329184"/>
          </a:xfrm>
        </p:grpSpPr>
        <p:sp>
          <p:nvSpPr>
            <p:cNvPr id="173" name="Rounded Rectangle 172"/>
            <p:cNvSpPr/>
            <p:nvPr/>
          </p:nvSpPr>
          <p:spPr>
            <a:xfrm>
              <a:off x="2007910" y="5715402"/>
              <a:ext cx="9903038" cy="329184"/>
            </a:xfrm>
            <a:prstGeom prst="roundRect">
              <a:avLst/>
            </a:prstGeom>
            <a:solidFill>
              <a:srgbClr val="FF00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Compute</a:t>
              </a:r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8686964" y="5732607"/>
              <a:ext cx="1005840" cy="294774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Containers</a:t>
              </a:r>
            </a:p>
          </p:txBody>
        </p:sp>
        <p:sp>
          <p:nvSpPr>
            <p:cNvPr id="36" name="Rounded Rectangle 35"/>
            <p:cNvSpPr/>
            <p:nvPr/>
          </p:nvSpPr>
          <p:spPr>
            <a:xfrm>
              <a:off x="9780989" y="5732607"/>
              <a:ext cx="1005840" cy="294774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Event-driven Computing</a:t>
              </a: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3216839" y="5732607"/>
              <a:ext cx="1005840" cy="294774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Virtual Machines</a:t>
              </a: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4310864" y="5732607"/>
              <a:ext cx="1005840" cy="294774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imple Servers</a:t>
              </a:r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6498914" y="5732607"/>
              <a:ext cx="1005840" cy="294774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uto Scaling</a:t>
              </a: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7592939" y="5732607"/>
              <a:ext cx="1005840" cy="294774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Batch</a:t>
              </a:r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5404889" y="5732607"/>
              <a:ext cx="1005840" cy="294774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Web Applications</a:t>
              </a:r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1996104" y="5383727"/>
            <a:ext cx="9903038" cy="329184"/>
            <a:chOff x="2007910" y="5344781"/>
            <a:chExt cx="9903038" cy="329184"/>
          </a:xfrm>
        </p:grpSpPr>
        <p:sp>
          <p:nvSpPr>
            <p:cNvPr id="171" name="Rounded Rectangle 170"/>
            <p:cNvSpPr/>
            <p:nvPr/>
          </p:nvSpPr>
          <p:spPr>
            <a:xfrm>
              <a:off x="2007910" y="5344781"/>
              <a:ext cx="9903038" cy="329184"/>
            </a:xfrm>
            <a:prstGeom prst="roundRect">
              <a:avLst/>
            </a:prstGeom>
            <a:solidFill>
              <a:srgbClr val="FF66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Storage</a:t>
              </a:r>
            </a:p>
          </p:txBody>
        </p:sp>
        <p:sp>
          <p:nvSpPr>
            <p:cNvPr id="44" name="Rounded Rectangle 43"/>
            <p:cNvSpPr/>
            <p:nvPr/>
          </p:nvSpPr>
          <p:spPr>
            <a:xfrm>
              <a:off x="3216839" y="5361986"/>
              <a:ext cx="1005840" cy="294774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Object Storage</a:t>
              </a:r>
            </a:p>
          </p:txBody>
        </p:sp>
        <p:sp>
          <p:nvSpPr>
            <p:cNvPr id="45" name="Rounded Rectangle 44"/>
            <p:cNvSpPr/>
            <p:nvPr/>
          </p:nvSpPr>
          <p:spPr>
            <a:xfrm>
              <a:off x="4310864" y="5361986"/>
              <a:ext cx="1005840" cy="294774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rchive</a:t>
              </a:r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6498914" y="5361986"/>
              <a:ext cx="1005840" cy="294774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Block Storage</a:t>
              </a: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7592939" y="5361986"/>
              <a:ext cx="1005840" cy="294774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Managed File Storage</a:t>
              </a: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5404889" y="5361986"/>
              <a:ext cx="1005840" cy="294774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Exabyte-scale Data Transport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996104" y="5029035"/>
            <a:ext cx="9903038" cy="329184"/>
            <a:chOff x="1996104" y="4977326"/>
            <a:chExt cx="9903038" cy="329184"/>
          </a:xfrm>
        </p:grpSpPr>
        <p:sp>
          <p:nvSpPr>
            <p:cNvPr id="170" name="Rounded Rectangle 169"/>
            <p:cNvSpPr/>
            <p:nvPr/>
          </p:nvSpPr>
          <p:spPr>
            <a:xfrm>
              <a:off x="1996104" y="4977326"/>
              <a:ext cx="9903038" cy="329184"/>
            </a:xfrm>
            <a:prstGeom prst="roundRect">
              <a:avLst/>
            </a:prstGeom>
            <a:solidFill>
              <a:srgbClr val="8C1A4C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Database</a:t>
              </a:r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8705252" y="5011734"/>
              <a:ext cx="1005840" cy="294774"/>
            </a:xfrm>
            <a:prstGeom prst="roundRect">
              <a:avLst/>
            </a:prstGeom>
            <a:solidFill>
              <a:srgbClr val="8C1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ata Warehousing</a:t>
              </a:r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9816934" y="4994531"/>
              <a:ext cx="1005840" cy="294774"/>
            </a:xfrm>
            <a:prstGeom prst="roundRect">
              <a:avLst/>
            </a:prstGeom>
            <a:solidFill>
              <a:srgbClr val="8C1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NoSQL</a:t>
              </a:r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3216839" y="4994531"/>
              <a:ext cx="1005840" cy="294774"/>
            </a:xfrm>
            <a:prstGeom prst="roundRect">
              <a:avLst/>
            </a:prstGeom>
            <a:solidFill>
              <a:srgbClr val="8C1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Aurora</a:t>
              </a:r>
            </a:p>
          </p:txBody>
        </p:sp>
        <p:sp>
          <p:nvSpPr>
            <p:cNvPr id="50" name="Rounded Rectangle 49"/>
            <p:cNvSpPr/>
            <p:nvPr/>
          </p:nvSpPr>
          <p:spPr>
            <a:xfrm>
              <a:off x="4310864" y="4994531"/>
              <a:ext cx="1005840" cy="294774"/>
            </a:xfrm>
            <a:prstGeom prst="roundRect">
              <a:avLst/>
            </a:prstGeom>
            <a:solidFill>
              <a:srgbClr val="8C1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MySQL</a:t>
              </a:r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6498914" y="4994531"/>
              <a:ext cx="1005840" cy="294774"/>
            </a:xfrm>
            <a:prstGeom prst="roundRect">
              <a:avLst/>
            </a:prstGeom>
            <a:solidFill>
              <a:srgbClr val="8C1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Oracle</a:t>
              </a:r>
            </a:p>
          </p:txBody>
        </p:sp>
        <p:sp>
          <p:nvSpPr>
            <p:cNvPr id="52" name="Rounded Rectangle 51"/>
            <p:cNvSpPr/>
            <p:nvPr/>
          </p:nvSpPr>
          <p:spPr>
            <a:xfrm>
              <a:off x="7592939" y="4994531"/>
              <a:ext cx="1005840" cy="294774"/>
            </a:xfrm>
            <a:prstGeom prst="roundRect">
              <a:avLst/>
            </a:prstGeom>
            <a:solidFill>
              <a:srgbClr val="8C1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QL Server</a:t>
              </a: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5404889" y="4994531"/>
              <a:ext cx="1005840" cy="294774"/>
            </a:xfrm>
            <a:prstGeom prst="roundRect">
              <a:avLst/>
            </a:prstGeom>
            <a:solidFill>
              <a:srgbClr val="8C1A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PostgreSQL</a:t>
              </a: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1996104" y="4319649"/>
            <a:ext cx="9891093" cy="329184"/>
            <a:chOff x="2008048" y="4238372"/>
            <a:chExt cx="9891093" cy="329184"/>
          </a:xfrm>
        </p:grpSpPr>
        <p:sp>
          <p:nvSpPr>
            <p:cNvPr id="168" name="Rounded Rectangle 167"/>
            <p:cNvSpPr/>
            <p:nvPr/>
          </p:nvSpPr>
          <p:spPr>
            <a:xfrm>
              <a:off x="2008048" y="4238372"/>
              <a:ext cx="9891093" cy="329184"/>
            </a:xfrm>
            <a:prstGeom prst="roundRect">
              <a:avLst/>
            </a:prstGeom>
            <a:solidFill>
              <a:srgbClr val="835741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Application</a:t>
              </a:r>
            </a:p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Services</a:t>
              </a:r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3216839" y="4255577"/>
              <a:ext cx="1005840" cy="294774"/>
            </a:xfrm>
            <a:prstGeom prst="roundRect">
              <a:avLst/>
            </a:prstGeom>
            <a:solidFill>
              <a:srgbClr val="8357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Transcoding</a:t>
              </a:r>
            </a:p>
          </p:txBody>
        </p:sp>
        <p:sp>
          <p:nvSpPr>
            <p:cNvPr id="58" name="Rounded Rectangle 57"/>
            <p:cNvSpPr/>
            <p:nvPr/>
          </p:nvSpPr>
          <p:spPr>
            <a:xfrm>
              <a:off x="4310864" y="4255577"/>
              <a:ext cx="1005840" cy="294774"/>
            </a:xfrm>
            <a:prstGeom prst="roundRect">
              <a:avLst/>
            </a:prstGeom>
            <a:solidFill>
              <a:srgbClr val="8357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tep Functions</a:t>
              </a:r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5404889" y="4255577"/>
              <a:ext cx="1005840" cy="294774"/>
            </a:xfrm>
            <a:prstGeom prst="roundRect">
              <a:avLst/>
            </a:prstGeom>
            <a:solidFill>
              <a:srgbClr val="8357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Messaging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1996104" y="4674341"/>
            <a:ext cx="9891093" cy="329184"/>
            <a:chOff x="1998858" y="4607936"/>
            <a:chExt cx="9891093" cy="329184"/>
          </a:xfrm>
        </p:grpSpPr>
        <p:sp>
          <p:nvSpPr>
            <p:cNvPr id="169" name="Rounded Rectangle 168"/>
            <p:cNvSpPr/>
            <p:nvPr/>
          </p:nvSpPr>
          <p:spPr>
            <a:xfrm>
              <a:off x="1998858" y="4607936"/>
              <a:ext cx="9891093" cy="329184"/>
            </a:xfrm>
            <a:prstGeom prst="roundRect">
              <a:avLst/>
            </a:prstGeom>
            <a:solidFill>
              <a:srgbClr val="D9D9D9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Security</a:t>
              </a: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8686964" y="4625141"/>
              <a:ext cx="1005840" cy="294774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Certificate Management</a:t>
              </a: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9780989" y="4625141"/>
              <a:ext cx="1005840" cy="294774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Web App. Firewall</a:t>
              </a:r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3216839" y="4625141"/>
              <a:ext cx="1005840" cy="294774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Identity &amp; Access</a:t>
              </a:r>
            </a:p>
          </p:txBody>
        </p:sp>
        <p:sp>
          <p:nvSpPr>
            <p:cNvPr id="69" name="Rounded Rectangle 68"/>
            <p:cNvSpPr/>
            <p:nvPr/>
          </p:nvSpPr>
          <p:spPr>
            <a:xfrm>
              <a:off x="4310864" y="4625141"/>
              <a:ext cx="1005840" cy="294774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Key Storage &amp; Management</a:t>
              </a:r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6498914" y="4625141"/>
              <a:ext cx="1005840" cy="294774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 err="1">
                  <a:solidFill>
                    <a:prstClr val="black"/>
                  </a:solidFill>
                  <a:latin typeface="Calibri"/>
                </a:rPr>
                <a:t>DDoS</a:t>
              </a:r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 Protection</a:t>
              </a:r>
            </a:p>
          </p:txBody>
        </p:sp>
        <p:sp>
          <p:nvSpPr>
            <p:cNvPr id="72" name="Rounded Rectangle 71"/>
            <p:cNvSpPr/>
            <p:nvPr/>
          </p:nvSpPr>
          <p:spPr>
            <a:xfrm>
              <a:off x="7592939" y="4625141"/>
              <a:ext cx="1005840" cy="294774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Application Analysis</a:t>
              </a: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5404889" y="4625141"/>
              <a:ext cx="1005840" cy="294774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black"/>
                  </a:solidFill>
                  <a:latin typeface="Calibri"/>
                </a:rPr>
                <a:t>Active Directory</a:t>
              </a: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5386601" y="194066"/>
            <a:ext cx="1042416" cy="3152158"/>
            <a:chOff x="5386943" y="200896"/>
            <a:chExt cx="1042416" cy="3152158"/>
          </a:xfrm>
        </p:grpSpPr>
        <p:sp>
          <p:nvSpPr>
            <p:cNvPr id="160" name="Rounded Rectangle 159"/>
            <p:cNvSpPr/>
            <p:nvPr/>
          </p:nvSpPr>
          <p:spPr>
            <a:xfrm>
              <a:off x="5386943" y="200896"/>
              <a:ext cx="1042416" cy="3152158"/>
            </a:xfrm>
            <a:prstGeom prst="roundRect">
              <a:avLst>
                <a:gd name="adj" fmla="val 8232"/>
              </a:avLst>
            </a:prstGeom>
            <a:solidFill>
              <a:srgbClr val="3066BE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14363"/>
              <a:r>
                <a:rPr lang="en-US" sz="1000" b="1" dirty="0">
                  <a:solidFill>
                    <a:prstClr val="black"/>
                  </a:solidFill>
                  <a:latin typeface="Calibri"/>
                </a:rPr>
                <a:t>Dev Tools</a:t>
              </a:r>
            </a:p>
          </p:txBody>
        </p:sp>
        <p:sp>
          <p:nvSpPr>
            <p:cNvPr id="133" name="Rounded Rectangle 132"/>
            <p:cNvSpPr/>
            <p:nvPr/>
          </p:nvSpPr>
          <p:spPr>
            <a:xfrm>
              <a:off x="5405231" y="1919119"/>
              <a:ext cx="1005840" cy="294774"/>
            </a:xfrm>
            <a:prstGeom prst="roundRect">
              <a:avLst/>
            </a:prstGeom>
            <a:solidFill>
              <a:srgbClr val="3066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Private </a:t>
              </a:r>
              <a:r>
                <a:rPr lang="en-US" sz="1000" dirty="0" err="1">
                  <a:solidFill>
                    <a:prstClr val="white"/>
                  </a:solidFill>
                  <a:latin typeface="Calibri"/>
                </a:rPr>
                <a:t>Git</a:t>
              </a:r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 Repositories</a:t>
              </a:r>
            </a:p>
          </p:txBody>
        </p:sp>
        <p:sp>
          <p:nvSpPr>
            <p:cNvPr id="134" name="Rounded Rectangle 133"/>
            <p:cNvSpPr/>
            <p:nvPr/>
          </p:nvSpPr>
          <p:spPr>
            <a:xfrm>
              <a:off x="5405231" y="2286109"/>
              <a:ext cx="1005840" cy="294774"/>
            </a:xfrm>
            <a:prstGeom prst="roundRect">
              <a:avLst/>
            </a:prstGeom>
            <a:solidFill>
              <a:srgbClr val="3066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Continuous Delivery</a:t>
              </a:r>
            </a:p>
          </p:txBody>
        </p:sp>
        <p:sp>
          <p:nvSpPr>
            <p:cNvPr id="136" name="Rounded Rectangle 135"/>
            <p:cNvSpPr/>
            <p:nvPr/>
          </p:nvSpPr>
          <p:spPr>
            <a:xfrm>
              <a:off x="5405231" y="2653099"/>
              <a:ext cx="1005840" cy="294774"/>
            </a:xfrm>
            <a:prstGeom prst="roundRect">
              <a:avLst/>
            </a:prstGeom>
            <a:solidFill>
              <a:srgbClr val="3066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Build, Test, and Debug</a:t>
              </a:r>
            </a:p>
          </p:txBody>
        </p:sp>
        <p:sp>
          <p:nvSpPr>
            <p:cNvPr id="135" name="Rounded Rectangle 134"/>
            <p:cNvSpPr/>
            <p:nvPr/>
          </p:nvSpPr>
          <p:spPr>
            <a:xfrm>
              <a:off x="5405231" y="3020088"/>
              <a:ext cx="1005840" cy="294774"/>
            </a:xfrm>
            <a:prstGeom prst="roundRect">
              <a:avLst/>
            </a:prstGeom>
            <a:solidFill>
              <a:srgbClr val="3066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eployment</a:t>
              </a: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1996104" y="6093114"/>
            <a:ext cx="9903038" cy="329184"/>
            <a:chOff x="2007910" y="6076533"/>
            <a:chExt cx="9903038" cy="329184"/>
          </a:xfrm>
        </p:grpSpPr>
        <p:sp>
          <p:nvSpPr>
            <p:cNvPr id="178" name="Rounded Rectangle 177"/>
            <p:cNvSpPr/>
            <p:nvPr/>
          </p:nvSpPr>
          <p:spPr>
            <a:xfrm>
              <a:off x="2007910" y="6076533"/>
              <a:ext cx="9903038" cy="329184"/>
            </a:xfrm>
            <a:prstGeom prst="roundRect">
              <a:avLst/>
            </a:prstGeom>
            <a:solidFill>
              <a:srgbClr val="143C49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63"/>
              <a:r>
                <a:rPr lang="en-US" sz="1200" b="1" dirty="0">
                  <a:solidFill>
                    <a:prstClr val="black"/>
                  </a:solidFill>
                  <a:latin typeface="Calibri"/>
                </a:rPr>
                <a:t>Networking</a:t>
              </a:r>
            </a:p>
          </p:txBody>
        </p:sp>
        <p:sp>
          <p:nvSpPr>
            <p:cNvPr id="179" name="Rounded Rectangle 178"/>
            <p:cNvSpPr/>
            <p:nvPr/>
          </p:nvSpPr>
          <p:spPr>
            <a:xfrm>
              <a:off x="3216839" y="6093738"/>
              <a:ext cx="1005840" cy="294774"/>
            </a:xfrm>
            <a:prstGeom prst="roundRect">
              <a:avLst/>
            </a:prstGeom>
            <a:solidFill>
              <a:srgbClr val="143C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Isolated Resources</a:t>
              </a:r>
            </a:p>
          </p:txBody>
        </p:sp>
        <p:sp>
          <p:nvSpPr>
            <p:cNvPr id="180" name="Rounded Rectangle 179"/>
            <p:cNvSpPr/>
            <p:nvPr/>
          </p:nvSpPr>
          <p:spPr>
            <a:xfrm>
              <a:off x="4310864" y="6093738"/>
              <a:ext cx="1005840" cy="294774"/>
            </a:xfrm>
            <a:prstGeom prst="roundRect">
              <a:avLst/>
            </a:prstGeom>
            <a:solidFill>
              <a:srgbClr val="143C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Dedicated Connections</a:t>
              </a:r>
            </a:p>
          </p:txBody>
        </p:sp>
        <p:sp>
          <p:nvSpPr>
            <p:cNvPr id="182" name="Rounded Rectangle 181"/>
            <p:cNvSpPr/>
            <p:nvPr/>
          </p:nvSpPr>
          <p:spPr>
            <a:xfrm>
              <a:off x="6498914" y="6093738"/>
              <a:ext cx="1005840" cy="294774"/>
            </a:xfrm>
            <a:prstGeom prst="roundRect">
              <a:avLst/>
            </a:prstGeom>
            <a:solidFill>
              <a:srgbClr val="143C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Load Balancing</a:t>
              </a:r>
            </a:p>
          </p:txBody>
        </p:sp>
        <p:sp>
          <p:nvSpPr>
            <p:cNvPr id="183" name="Rounded Rectangle 182"/>
            <p:cNvSpPr/>
            <p:nvPr/>
          </p:nvSpPr>
          <p:spPr>
            <a:xfrm>
              <a:off x="7592939" y="6093738"/>
              <a:ext cx="1005840" cy="294774"/>
            </a:xfrm>
            <a:prstGeom prst="roundRect">
              <a:avLst/>
            </a:prstGeom>
            <a:solidFill>
              <a:srgbClr val="143C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Scalable DNS</a:t>
              </a:r>
            </a:p>
          </p:txBody>
        </p:sp>
        <p:sp>
          <p:nvSpPr>
            <p:cNvPr id="184" name="Rounded Rectangle 183"/>
            <p:cNvSpPr/>
            <p:nvPr/>
          </p:nvSpPr>
          <p:spPr>
            <a:xfrm>
              <a:off x="5404889" y="6093738"/>
              <a:ext cx="1005840" cy="294774"/>
            </a:xfrm>
            <a:prstGeom prst="roundRect">
              <a:avLst/>
            </a:prstGeom>
            <a:solidFill>
              <a:srgbClr val="143C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3"/>
              <a:r>
                <a:rPr lang="en-US" sz="1000" dirty="0">
                  <a:solidFill>
                    <a:prstClr val="white"/>
                  </a:solidFill>
                  <a:latin typeface="Calibri"/>
                </a:rPr>
                <a:t>Global CDN</a:t>
              </a:r>
            </a:p>
          </p:txBody>
        </p:sp>
      </p:grpSp>
      <p:sp>
        <p:nvSpPr>
          <p:cNvPr id="186" name="TextBox 185"/>
          <p:cNvSpPr txBox="1"/>
          <p:nvPr/>
        </p:nvSpPr>
        <p:spPr>
          <a:xfrm>
            <a:off x="191000" y="349960"/>
            <a:ext cx="13665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3"/>
            <a:r>
              <a:rPr lang="en-US" sz="2400" b="1" dirty="0">
                <a:solidFill>
                  <a:prstClr val="black"/>
                </a:solidFill>
                <a:latin typeface="Calibri"/>
              </a:rPr>
              <a:t>The AWS Platform</a:t>
            </a:r>
          </a:p>
        </p:txBody>
      </p:sp>
      <p:sp>
        <p:nvSpPr>
          <p:cNvPr id="177" name="Rounded Rectangle 176"/>
          <p:cNvSpPr/>
          <p:nvPr/>
        </p:nvSpPr>
        <p:spPr>
          <a:xfrm>
            <a:off x="5432321" y="1531138"/>
            <a:ext cx="1005840" cy="294774"/>
          </a:xfrm>
          <a:prstGeom prst="roundRect">
            <a:avLst/>
          </a:prstGeom>
          <a:solidFill>
            <a:srgbClr val="306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3"/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Package Creator 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7" name="Rounded Rectangle 186"/>
          <p:cNvSpPr/>
          <p:nvPr/>
        </p:nvSpPr>
        <p:spPr>
          <a:xfrm>
            <a:off x="5432321" y="1150583"/>
            <a:ext cx="1005840" cy="294774"/>
          </a:xfrm>
          <a:prstGeom prst="roundRect">
            <a:avLst/>
          </a:prstGeom>
          <a:solidFill>
            <a:srgbClr val="306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3"/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Code quality analyzer 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8" name="Rounded Rectangle 187"/>
          <p:cNvSpPr/>
          <p:nvPr/>
        </p:nvSpPr>
        <p:spPr>
          <a:xfrm>
            <a:off x="7598037" y="1177232"/>
            <a:ext cx="1005840" cy="294774"/>
          </a:xfrm>
          <a:prstGeom prst="roundRect">
            <a:avLst/>
          </a:prstGeom>
          <a:solidFill>
            <a:srgbClr val="CC33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3"/>
            <a:r>
              <a:rPr lang="en-US" sz="1000" dirty="0" err="1" smtClean="0">
                <a:solidFill>
                  <a:prstClr val="white"/>
                </a:solidFill>
                <a:latin typeface="Calibri"/>
              </a:rPr>
              <a:t>IoT</a:t>
            </a:r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 One Click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9" name="Rounded Rectangle 188"/>
          <p:cNvSpPr/>
          <p:nvPr/>
        </p:nvSpPr>
        <p:spPr>
          <a:xfrm>
            <a:off x="7611551" y="811319"/>
            <a:ext cx="1005840" cy="294774"/>
          </a:xfrm>
          <a:prstGeom prst="roundRect">
            <a:avLst/>
          </a:prstGeom>
          <a:solidFill>
            <a:srgbClr val="CC33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3"/>
            <a:r>
              <a:rPr lang="en-US" sz="1000" dirty="0" err="1" smtClean="0">
                <a:solidFill>
                  <a:prstClr val="white"/>
                </a:solidFill>
                <a:latin typeface="Calibri"/>
              </a:rPr>
              <a:t>IoT</a:t>
            </a:r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 </a:t>
            </a:r>
            <a:r>
              <a:rPr lang="en-US" sz="1000" dirty="0" err="1" smtClean="0">
                <a:solidFill>
                  <a:prstClr val="white"/>
                </a:solidFill>
                <a:latin typeface="Calibri"/>
              </a:rPr>
              <a:t>Greengrass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0" name="Rounded Rectangle 189"/>
          <p:cNvSpPr/>
          <p:nvPr/>
        </p:nvSpPr>
        <p:spPr>
          <a:xfrm>
            <a:off x="10822774" y="4691546"/>
            <a:ext cx="1005840" cy="294774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3"/>
            <a:r>
              <a:rPr lang="en-US" sz="1000" dirty="0" err="1" smtClean="0">
                <a:solidFill>
                  <a:prstClr val="black"/>
                </a:solidFill>
                <a:latin typeface="Calibri"/>
              </a:rPr>
              <a:t>IoT</a:t>
            </a:r>
            <a:r>
              <a:rPr lang="en-US" sz="1000" dirty="0" smtClean="0">
                <a:solidFill>
                  <a:prstClr val="black"/>
                </a:solidFill>
                <a:latin typeface="Calibri"/>
              </a:rPr>
              <a:t> Device Defender </a:t>
            </a:r>
            <a:endParaRPr lang="en-US" sz="1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1" name="Rounded Rectangle 190"/>
          <p:cNvSpPr/>
          <p:nvPr/>
        </p:nvSpPr>
        <p:spPr>
          <a:xfrm>
            <a:off x="6517202" y="1531138"/>
            <a:ext cx="1005840" cy="294774"/>
          </a:xfrm>
          <a:prstGeom prst="roundRect">
            <a:avLst/>
          </a:prstGeom>
          <a:solidFill>
            <a:srgbClr val="92DB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3"/>
            <a:r>
              <a:rPr lang="en-US" sz="1000" dirty="0" smtClean="0">
                <a:solidFill>
                  <a:prstClr val="black"/>
                </a:solidFill>
                <a:latin typeface="Calibri"/>
              </a:rPr>
              <a:t>NLP Engine</a:t>
            </a:r>
            <a:endParaRPr lang="en-US" sz="1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3" name="Rounded Rectangle 192"/>
          <p:cNvSpPr/>
          <p:nvPr/>
        </p:nvSpPr>
        <p:spPr>
          <a:xfrm>
            <a:off x="6496160" y="1152796"/>
            <a:ext cx="1005840" cy="294774"/>
          </a:xfrm>
          <a:prstGeom prst="roundRect">
            <a:avLst/>
          </a:prstGeom>
          <a:solidFill>
            <a:srgbClr val="92DB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3"/>
            <a:r>
              <a:rPr lang="en-US" sz="1000" dirty="0" smtClean="0">
                <a:solidFill>
                  <a:prstClr val="black"/>
                </a:solidFill>
                <a:latin typeface="Calibri"/>
              </a:rPr>
              <a:t>AA Engine</a:t>
            </a:r>
            <a:endParaRPr lang="en-US" sz="10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13417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Lilly 1">
      <a:dk1>
        <a:srgbClr val="000000"/>
      </a:dk1>
      <a:lt1>
        <a:sysClr val="window" lastClr="FFFFFF"/>
      </a:lt1>
      <a:dk2>
        <a:srgbClr val="A59D95"/>
      </a:dk2>
      <a:lt2>
        <a:srgbClr val="D3BF96"/>
      </a:lt2>
      <a:accent1>
        <a:srgbClr val="4E2E2D"/>
      </a:accent1>
      <a:accent2>
        <a:srgbClr val="82785C"/>
      </a:accent2>
      <a:accent3>
        <a:srgbClr val="D52B17"/>
      </a:accent3>
      <a:accent4>
        <a:srgbClr val="FF6D22"/>
      </a:accent4>
      <a:accent5>
        <a:srgbClr val="263F6A"/>
      </a:accent5>
      <a:accent6>
        <a:srgbClr val="00A1DE"/>
      </a:accent6>
      <a:hlink>
        <a:srgbClr val="00AF3F"/>
      </a:hlink>
      <a:folHlink>
        <a:srgbClr val="B1059D"/>
      </a:folHlink>
    </a:clrScheme>
    <a:fontScheme name="Lilly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MA_BootCamp_Aug2017" id="{0F7D93B5-1837-4C2D-905A-91769FB6A655}" vid="{C22F2274-0BEE-4E5D-BE77-BF4C774EB17F}"/>
    </a:ext>
  </a:extLst>
</a:theme>
</file>

<file path=ppt/theme/theme2.xml><?xml version="1.0" encoding="utf-8"?>
<a:theme xmlns:a="http://schemas.openxmlformats.org/drawingml/2006/main" name="3_Office Theme">
  <a:themeElements>
    <a:clrScheme name="Lilly 1">
      <a:dk1>
        <a:srgbClr val="000000"/>
      </a:dk1>
      <a:lt1>
        <a:sysClr val="window" lastClr="FFFFFF"/>
      </a:lt1>
      <a:dk2>
        <a:srgbClr val="A59D95"/>
      </a:dk2>
      <a:lt2>
        <a:srgbClr val="D3BF96"/>
      </a:lt2>
      <a:accent1>
        <a:srgbClr val="4E2E2D"/>
      </a:accent1>
      <a:accent2>
        <a:srgbClr val="82785C"/>
      </a:accent2>
      <a:accent3>
        <a:srgbClr val="D52B17"/>
      </a:accent3>
      <a:accent4>
        <a:srgbClr val="FF6D22"/>
      </a:accent4>
      <a:accent5>
        <a:srgbClr val="263F6A"/>
      </a:accent5>
      <a:accent6>
        <a:srgbClr val="00A1DE"/>
      </a:accent6>
      <a:hlink>
        <a:srgbClr val="00AF3F"/>
      </a:hlink>
      <a:folHlink>
        <a:srgbClr val="B1059D"/>
      </a:folHlink>
    </a:clrScheme>
    <a:fontScheme name="Lilly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MA Bootcamp 2" id="{DF6A569A-8DBA-4320-A540-BD43F0DDDC08}" vid="{0A2E9633-3250-4CFF-8072-49AB892270A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64</TotalTime>
  <Words>506</Words>
  <Application>Microsoft Office PowerPoint</Application>
  <PresentationFormat>Widescreen</PresentationFormat>
  <Paragraphs>173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ＭＳ Ｐゴシック</vt:lpstr>
      <vt:lpstr>Arial</vt:lpstr>
      <vt:lpstr>Calibri</vt:lpstr>
      <vt:lpstr>DIN-Regular</vt:lpstr>
      <vt:lpstr>1_Office Theme</vt:lpstr>
      <vt:lpstr>3_Office Theme</vt:lpstr>
      <vt:lpstr>think-cell Slide</vt:lpstr>
      <vt:lpstr>PowerPoint Presentation</vt:lpstr>
      <vt:lpstr>PowerPoint Presentation</vt:lpstr>
      <vt:lpstr>AWS Serverless Deployment  Pipeline</vt:lpstr>
      <vt:lpstr>AWS Container Deployment Pipelone</vt:lpstr>
      <vt:lpstr>AWS Continuous deployment Pipeline</vt:lpstr>
      <vt:lpstr>AWS Server less Pipeline model</vt:lpstr>
      <vt:lpstr>AWS Logical State – Services </vt:lpstr>
      <vt:lpstr>Storage management flow</vt:lpstr>
      <vt:lpstr>PowerPoint Presentation</vt:lpstr>
    </vt:vector>
  </TitlesOfParts>
  <Company>Eli Lilly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does success look like?</dc:title>
  <dc:creator>wolf_eric_a@lilly.com</dc:creator>
  <cp:lastModifiedBy>Selvakumar Samraj, Pristley Sathyaraj (Cognizant)</cp:lastModifiedBy>
  <cp:revision>207</cp:revision>
  <dcterms:created xsi:type="dcterms:W3CDTF">2017-06-26T15:22:00Z</dcterms:created>
  <dcterms:modified xsi:type="dcterms:W3CDTF">2018-07-30T05:33:11Z</dcterms:modified>
</cp:coreProperties>
</file>